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2"/>
  </p:notesMasterIdLst>
  <p:sldIdLst>
    <p:sldId id="364" r:id="rId2"/>
    <p:sldId id="407" r:id="rId3"/>
    <p:sldId id="408" r:id="rId4"/>
    <p:sldId id="395" r:id="rId5"/>
    <p:sldId id="399" r:id="rId6"/>
    <p:sldId id="400" r:id="rId7"/>
    <p:sldId id="401" r:id="rId8"/>
    <p:sldId id="406" r:id="rId9"/>
    <p:sldId id="405" r:id="rId10"/>
    <p:sldId id="409" r:id="rId11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566" userDrawn="1">
          <p15:clr>
            <a:srgbClr val="A4A3A4"/>
          </p15:clr>
        </p15:guide>
        <p15:guide id="2" orient="horz" pos="3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5922"/>
    <a:srgbClr val="E75C01"/>
    <a:srgbClr val="F05A23"/>
    <a:srgbClr val="FFFFFF"/>
    <a:srgbClr val="E95504"/>
    <a:srgbClr val="FEE7DA"/>
    <a:srgbClr val="F2F2F2"/>
    <a:srgbClr val="2C2D3A"/>
    <a:srgbClr val="303148"/>
    <a:srgbClr val="2A2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中度样式 3 - 强调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85" autoAdjust="0"/>
    <p:restoredTop sz="96467" autoAdjust="0"/>
  </p:normalViewPr>
  <p:slideViewPr>
    <p:cSldViewPr snapToGrid="0" showGuides="1">
      <p:cViewPr varScale="1">
        <p:scale>
          <a:sx n="64" d="100"/>
          <a:sy n="64" d="100"/>
        </p:scale>
        <p:origin x="220" y="52"/>
      </p:cViewPr>
      <p:guideLst>
        <p:guide pos="4566"/>
        <p:guide orient="horz" pos="3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1"/>
              <a:t>网银</a:t>
            </a:r>
            <a:r>
              <a:rPr lang="zh-CN" altLang="en-US" sz="1200" b="1" smtClean="0"/>
              <a:t>卡集成量</a:t>
            </a:r>
            <a:endParaRPr lang="zh-CN" altLang="en-US" sz="1200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网银卡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查询卡</c:v>
                </c:pt>
                <c:pt idx="1">
                  <c:v>管理卡</c:v>
                </c:pt>
                <c:pt idx="2">
                  <c:v>支付卡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500</c:v>
                </c:pt>
                <c:pt idx="1">
                  <c:v>3500</c:v>
                </c:pt>
                <c:pt idx="2">
                  <c:v>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37-4669-8D75-E8C6DE3FDB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50066560"/>
        <c:axId val="2050073216"/>
      </c:barChart>
      <c:catAx>
        <c:axId val="205006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0073216"/>
        <c:crosses val="autoZero"/>
        <c:auto val="1"/>
        <c:lblAlgn val="ctr"/>
        <c:lblOffset val="100"/>
        <c:noMultiLvlLbl val="0"/>
      </c:catAx>
      <c:valAx>
        <c:axId val="2050073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0066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1"/>
              <a:t>网银支付比例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网银支付比例</c:v>
                </c:pt>
              </c:strCache>
            </c:strRef>
          </c:tx>
          <c:dPt>
            <c:idx val="0"/>
            <c:bubble3D val="0"/>
            <c:explosion val="27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E02-4AF9-A843-457CC113FFF4}"/>
              </c:ext>
            </c:extLst>
          </c:dPt>
          <c:dPt>
            <c:idx val="1"/>
            <c:bubble3D val="0"/>
            <c:explosion val="3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E02-4AF9-A843-457CC113FFF4}"/>
              </c:ext>
            </c:extLst>
          </c:dPt>
          <c:cat>
            <c:strRef>
              <c:f>Sheet1!$A$2:$A$3</c:f>
              <c:strCache>
                <c:ptCount val="2"/>
                <c:pt idx="0">
                  <c:v>线上交易</c:v>
                </c:pt>
                <c:pt idx="1">
                  <c:v>线下交易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900</c:v>
                </c:pt>
                <c:pt idx="1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2-4AF9-A843-457CC113FF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200" b="1" smtClean="0"/>
              <a:t>资金交易量</a:t>
            </a:r>
            <a:endParaRPr lang="en-US" altLang="zh-CN" sz="1200" b="1"/>
          </a:p>
        </c:rich>
      </c:tx>
      <c:layout>
        <c:manualLayout>
          <c:xMode val="edge"/>
          <c:yMode val="edge"/>
          <c:x val="0.3845370991951275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列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2021年</c:v>
                </c:pt>
                <c:pt idx="1">
                  <c:v>2022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000</c:v>
                </c:pt>
                <c:pt idx="1">
                  <c:v>9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7D-4D3A-8325-F675E0C0E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50059072"/>
        <c:axId val="2050060320"/>
      </c:barChart>
      <c:catAx>
        <c:axId val="205005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0060320"/>
        <c:crosses val="autoZero"/>
        <c:auto val="1"/>
        <c:lblAlgn val="ctr"/>
        <c:lblOffset val="100"/>
        <c:noMultiLvlLbl val="0"/>
      </c:catAx>
      <c:valAx>
        <c:axId val="2050060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50059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74739566633805E-2"/>
          <c:y val="9.3813922066619301E-2"/>
          <c:w val="0.90155572953405627"/>
          <c:h val="0.640536210024994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A5-4A9B-98BA-F206BA43476C}"/>
              </c:ext>
            </c:extLst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1A5-4A9B-98BA-F206BA43476C}"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61A5-4A9B-98BA-F206BA43476C}"/>
                </c:ext>
              </c:extLst>
            </c:dLbl>
            <c:numFmt formatCode="#,##0_);[Red]\(#,##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原流程</c:v>
                </c:pt>
                <c:pt idx="1">
                  <c:v>RPA应用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810</c:v>
                </c:pt>
                <c:pt idx="1">
                  <c:v>2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A5-4A9B-98BA-F206BA4347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6266624"/>
        <c:axId val="656274112"/>
      </c:barChart>
      <c:catAx>
        <c:axId val="656266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656274112"/>
        <c:crosses val="autoZero"/>
        <c:auto val="1"/>
        <c:lblAlgn val="ctr"/>
        <c:lblOffset val="100"/>
        <c:noMultiLvlLbl val="0"/>
      </c:catAx>
      <c:valAx>
        <c:axId val="656274112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656266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465152116244988E-2"/>
          <c:y val="0.15334923174449844"/>
          <c:w val="0.90906969576751007"/>
          <c:h val="0.633418661514776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83F-4B0E-9720-789694887301}"/>
              </c:ext>
            </c:extLst>
          </c:dPt>
          <c:dPt>
            <c:idx val="1"/>
            <c:invertIfNegative val="0"/>
            <c:bubble3D val="0"/>
            <c:spPr>
              <a:solidFill>
                <a:srgbClr val="F05A2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83F-4B0E-9720-789694887301}"/>
              </c:ext>
            </c:extLst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defRPr>
                    </a:pPr>
                    <a:r>
                      <a:rPr lang="en-US" altLang="zh-CN" smtClean="0">
                        <a:solidFill>
                          <a:schemeClr val="bg1"/>
                        </a:solidFill>
                      </a:rPr>
                      <a:t>31</a:t>
                    </a:r>
                  </a:p>
                  <a:p>
                    <a:pPr>
                      <a:defRPr sz="1100" b="1">
                        <a:solidFill>
                          <a:schemeClr val="bg1"/>
                        </a:solidFill>
                        <a:latin typeface="+mn-ea"/>
                        <a:ea typeface="+mn-ea"/>
                      </a:defRPr>
                    </a:pPr>
                    <a:r>
                      <a:rPr lang="zh-CN" altLang="en-US" smtClean="0">
                        <a:solidFill>
                          <a:schemeClr val="bg1"/>
                        </a:solidFill>
                      </a:rPr>
                      <a:t>分钟</a:t>
                    </a:r>
                    <a:endParaRPr lang="zh-CN" altLang="en-US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83F-4B0E-9720-789694887301}"/>
                </c:ext>
              </c:extLst>
            </c:dLbl>
            <c:dLbl>
              <c:idx val="1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chemeClr val="bg1"/>
                        </a:solidFill>
                        <a:latin typeface="+mn-ea"/>
                        <a:ea typeface="+mn-ea"/>
                        <a:cs typeface="+mn-cs"/>
                      </a:defRPr>
                    </a:pPr>
                    <a:r>
                      <a:rPr lang="en-US" altLang="zh-CN" sz="1100" smtClean="0"/>
                      <a:t>17</a:t>
                    </a:r>
                  </a:p>
                  <a:p>
                    <a:pPr>
                      <a:defRPr sz="1100" b="1">
                        <a:solidFill>
                          <a:schemeClr val="bg1"/>
                        </a:solidFill>
                        <a:latin typeface="+mn-ea"/>
                        <a:ea typeface="+mn-ea"/>
                      </a:defRPr>
                    </a:pPr>
                    <a:r>
                      <a:rPr lang="zh-CN" altLang="en-US" sz="1100" smtClean="0"/>
                      <a:t>分钟</a:t>
                    </a:r>
                    <a:endParaRPr lang="zh-CN" altLang="en-US" sz="11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ea"/>
                      <a:ea typeface="+mn-ea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83F-4B0E-9720-7896948873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ea"/>
                    <a:ea typeface="+mn-ea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2年</c:v>
                </c:pt>
                <c:pt idx="1">
                  <c:v>23年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3F-4B0E-9720-7896948873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82867232"/>
        <c:axId val="1882870144"/>
      </c:barChart>
      <c:catAx>
        <c:axId val="188286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zh-CN"/>
          </a:p>
        </c:txPr>
        <c:crossAx val="1882870144"/>
        <c:crosses val="autoZero"/>
        <c:auto val="1"/>
        <c:lblAlgn val="ctr"/>
        <c:lblOffset val="100"/>
        <c:noMultiLvlLbl val="0"/>
      </c:catAx>
      <c:valAx>
        <c:axId val="18828701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82867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C5E729-28F9-4B9E-BE7C-0EEFCDC3CC17}" type="doc">
      <dgm:prSet loTypeId="urn:microsoft.com/office/officeart/2005/8/layout/cycle4" loCatId="cycle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zh-CN" altLang="en-US"/>
        </a:p>
      </dgm:t>
    </dgm:pt>
    <dgm:pt modelId="{52461B4D-01F0-4B10-8D4E-A7B6838E7F70}">
      <dgm:prSet phldrT="[文本]"/>
      <dgm:spPr/>
      <dgm:t>
        <a:bodyPr/>
        <a:lstStyle/>
        <a:p>
          <a:r>
            <a:rPr lang="zh-CN" altLang="en-US" b="1" smtClean="0">
              <a:latin typeface="华文楷体" panose="02010600040101010101" pitchFamily="2" charset="-122"/>
              <a:ea typeface="华文楷体" panose="02010600040101010101" pitchFamily="2" charset="-122"/>
            </a:rPr>
            <a:t>上架</a:t>
          </a:r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C53B74B0-7AF8-4DE5-A1A3-26834DE1306A}" type="parTrans" cxnId="{0B754E98-534F-4CB2-A483-DEFED007F3F8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34617EF9-AC5A-49CE-BF27-B2A35E31D8BF}" type="sibTrans" cxnId="{0B754E98-534F-4CB2-A483-DEFED007F3F8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EB43EBFD-D00E-4B14-95EC-EAAF6939EF1C}">
      <dgm:prSet phldrT="[文本]"/>
      <dgm:spPr/>
      <dgm:t>
        <a:bodyPr/>
        <a:lstStyle/>
        <a:p>
          <a:r>
            <a:rPr lang="zh-CN" altLang="en-US" b="1" smtClean="0">
              <a:latin typeface="华文楷体" panose="02010600040101010101" pitchFamily="2" charset="-122"/>
              <a:ea typeface="华文楷体" panose="02010600040101010101" pitchFamily="2" charset="-122"/>
            </a:rPr>
            <a:t>监控</a:t>
          </a:r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A42629E3-A251-4B01-A046-11CF425E5ACE}" type="parTrans" cxnId="{05553539-6F29-4AFF-992A-D5FA355F6936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CFCCB656-FC05-4280-A03F-EADC2176ACCD}" type="sibTrans" cxnId="{05553539-6F29-4AFF-992A-D5FA355F6936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6339EF0E-EB8C-48A2-B285-F03A20DC0838}">
      <dgm:prSet phldrT="[文本]"/>
      <dgm:spPr/>
      <dgm:t>
        <a:bodyPr/>
        <a:lstStyle/>
        <a:p>
          <a:r>
            <a:rPr lang="zh-CN" altLang="en-US" b="1" smtClean="0">
              <a:latin typeface="华文楷体" panose="02010600040101010101" pitchFamily="2" charset="-122"/>
              <a:ea typeface="华文楷体" panose="02010600040101010101" pitchFamily="2" charset="-122"/>
            </a:rPr>
            <a:t>质检</a:t>
          </a:r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C95A01B0-DFF6-4CA0-B0E5-D7DA4B63CF05}" type="parTrans" cxnId="{9C459EAB-FFB1-4FF4-8CB5-C07A1627A3F8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E9A5A156-2C93-48BE-828D-61BAAF90B4E8}" type="sibTrans" cxnId="{9C459EAB-FFB1-4FF4-8CB5-C07A1627A3F8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E5BD92E1-65B8-4F31-8ACC-4705CF5E058E}">
      <dgm:prSet phldrT="[文本]"/>
      <dgm:spPr/>
      <dgm:t>
        <a:bodyPr/>
        <a:lstStyle/>
        <a:p>
          <a:r>
            <a:rPr lang="zh-CN" altLang="en-US" b="1" smtClean="0">
              <a:latin typeface="华文楷体" panose="02010600040101010101" pitchFamily="2" charset="-122"/>
              <a:ea typeface="华文楷体" panose="02010600040101010101" pitchFamily="2" charset="-122"/>
            </a:rPr>
            <a:t>下架</a:t>
          </a:r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40DE9FAD-5B6F-48BC-B193-D24EB6D985DF}" type="parTrans" cxnId="{4BDB18E1-5815-450A-B97A-24C23F9804A2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9F2CDCCC-85DE-44E4-BC76-78E0A9E9A498}" type="sibTrans" cxnId="{4BDB18E1-5815-450A-B97A-24C23F9804A2}">
      <dgm:prSet/>
      <dgm:spPr/>
      <dgm:t>
        <a:bodyPr/>
        <a:lstStyle/>
        <a:p>
          <a:endParaRPr lang="zh-CN" altLang="en-US" b="1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59DEDB2E-E31F-4762-AE4B-14C7A738F931}" type="pres">
      <dgm:prSet presAssocID="{E8C5E729-28F9-4B9E-BE7C-0EEFCDC3CC17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FCC3649E-9162-48C9-9EE4-2C4F92C571FB}" type="pres">
      <dgm:prSet presAssocID="{E8C5E729-28F9-4B9E-BE7C-0EEFCDC3CC17}" presName="children" presStyleCnt="0"/>
      <dgm:spPr/>
      <dgm:t>
        <a:bodyPr/>
        <a:lstStyle/>
        <a:p>
          <a:endParaRPr lang="zh-CN" altLang="en-US"/>
        </a:p>
      </dgm:t>
    </dgm:pt>
    <dgm:pt modelId="{26515D8F-9BB0-471C-B393-41365F95844E}" type="pres">
      <dgm:prSet presAssocID="{E8C5E729-28F9-4B9E-BE7C-0EEFCDC3CC17}" presName="childPlaceholder" presStyleCnt="0"/>
      <dgm:spPr/>
      <dgm:t>
        <a:bodyPr/>
        <a:lstStyle/>
        <a:p>
          <a:endParaRPr lang="zh-CN" altLang="en-US"/>
        </a:p>
      </dgm:t>
    </dgm:pt>
    <dgm:pt modelId="{1B52904B-FDAA-4410-8030-8978F53E1F32}" type="pres">
      <dgm:prSet presAssocID="{E8C5E729-28F9-4B9E-BE7C-0EEFCDC3CC17}" presName="circle" presStyleCnt="0"/>
      <dgm:spPr/>
      <dgm:t>
        <a:bodyPr/>
        <a:lstStyle/>
        <a:p>
          <a:endParaRPr lang="zh-CN" altLang="en-US"/>
        </a:p>
      </dgm:t>
    </dgm:pt>
    <dgm:pt modelId="{B272C1A5-660F-46CD-9006-636A94979A40}" type="pres">
      <dgm:prSet presAssocID="{E8C5E729-28F9-4B9E-BE7C-0EEFCDC3CC17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937EF70-151E-4ACD-886D-AB90A9715064}" type="pres">
      <dgm:prSet presAssocID="{E8C5E729-28F9-4B9E-BE7C-0EEFCDC3CC17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F0565DF-AD1B-4467-8B0E-FA487BA4C6A8}" type="pres">
      <dgm:prSet presAssocID="{E8C5E729-28F9-4B9E-BE7C-0EEFCDC3CC17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216BE44-56C5-4755-AC4A-45851AE1129C}" type="pres">
      <dgm:prSet presAssocID="{E8C5E729-28F9-4B9E-BE7C-0EEFCDC3CC17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8A4E3BE-2427-4D0F-8EEA-CCB6D8AB07BE}" type="pres">
      <dgm:prSet presAssocID="{E8C5E729-28F9-4B9E-BE7C-0EEFCDC3CC17}" presName="quadrantPlaceholder" presStyleCnt="0"/>
      <dgm:spPr/>
      <dgm:t>
        <a:bodyPr/>
        <a:lstStyle/>
        <a:p>
          <a:endParaRPr lang="zh-CN" altLang="en-US"/>
        </a:p>
      </dgm:t>
    </dgm:pt>
    <dgm:pt modelId="{33C0A81C-6E07-4926-9872-2F37FE54186D}" type="pres">
      <dgm:prSet presAssocID="{E8C5E729-28F9-4B9E-BE7C-0EEFCDC3CC17}" presName="center1" presStyleLbl="fgShp" presStyleIdx="0" presStyleCnt="2"/>
      <dgm:spPr/>
      <dgm:t>
        <a:bodyPr/>
        <a:lstStyle/>
        <a:p>
          <a:endParaRPr lang="zh-CN" altLang="en-US"/>
        </a:p>
      </dgm:t>
    </dgm:pt>
    <dgm:pt modelId="{91941CB6-D64D-42CA-A474-7115AA59E09E}" type="pres">
      <dgm:prSet presAssocID="{E8C5E729-28F9-4B9E-BE7C-0EEFCDC3CC17}" presName="center2" presStyleLbl="fgShp" presStyleIdx="1" presStyleCnt="2"/>
      <dgm:spPr/>
      <dgm:t>
        <a:bodyPr/>
        <a:lstStyle/>
        <a:p>
          <a:endParaRPr lang="zh-CN" altLang="en-US"/>
        </a:p>
      </dgm:t>
    </dgm:pt>
  </dgm:ptLst>
  <dgm:cxnLst>
    <dgm:cxn modelId="{9C459EAB-FFB1-4FF4-8CB5-C07A1627A3F8}" srcId="{E8C5E729-28F9-4B9E-BE7C-0EEFCDC3CC17}" destId="{6339EF0E-EB8C-48A2-B285-F03A20DC0838}" srcOrd="2" destOrd="0" parTransId="{C95A01B0-DFF6-4CA0-B0E5-D7DA4B63CF05}" sibTransId="{E9A5A156-2C93-48BE-828D-61BAAF90B4E8}"/>
    <dgm:cxn modelId="{D5744DF4-3A23-4B4B-BFAF-76981CDC284B}" type="presOf" srcId="{E5BD92E1-65B8-4F31-8ACC-4705CF5E058E}" destId="{F216BE44-56C5-4755-AC4A-45851AE1129C}" srcOrd="0" destOrd="0" presId="urn:microsoft.com/office/officeart/2005/8/layout/cycle4"/>
    <dgm:cxn modelId="{AFFE28DA-A8C6-4D27-A71D-03ADAEA301E5}" type="presOf" srcId="{EB43EBFD-D00E-4B14-95EC-EAAF6939EF1C}" destId="{B937EF70-151E-4ACD-886D-AB90A9715064}" srcOrd="0" destOrd="0" presId="urn:microsoft.com/office/officeart/2005/8/layout/cycle4"/>
    <dgm:cxn modelId="{2C49AD53-961D-45DA-BAA3-E629573BFED4}" type="presOf" srcId="{6339EF0E-EB8C-48A2-B285-F03A20DC0838}" destId="{7F0565DF-AD1B-4467-8B0E-FA487BA4C6A8}" srcOrd="0" destOrd="0" presId="urn:microsoft.com/office/officeart/2005/8/layout/cycle4"/>
    <dgm:cxn modelId="{4BDB18E1-5815-450A-B97A-24C23F9804A2}" srcId="{E8C5E729-28F9-4B9E-BE7C-0EEFCDC3CC17}" destId="{E5BD92E1-65B8-4F31-8ACC-4705CF5E058E}" srcOrd="3" destOrd="0" parTransId="{40DE9FAD-5B6F-48BC-B193-D24EB6D985DF}" sibTransId="{9F2CDCCC-85DE-44E4-BC76-78E0A9E9A498}"/>
    <dgm:cxn modelId="{E446E7E6-BD88-480A-9A03-490FC8794023}" type="presOf" srcId="{E8C5E729-28F9-4B9E-BE7C-0EEFCDC3CC17}" destId="{59DEDB2E-E31F-4762-AE4B-14C7A738F931}" srcOrd="0" destOrd="0" presId="urn:microsoft.com/office/officeart/2005/8/layout/cycle4"/>
    <dgm:cxn modelId="{0B754E98-534F-4CB2-A483-DEFED007F3F8}" srcId="{E8C5E729-28F9-4B9E-BE7C-0EEFCDC3CC17}" destId="{52461B4D-01F0-4B10-8D4E-A7B6838E7F70}" srcOrd="0" destOrd="0" parTransId="{C53B74B0-7AF8-4DE5-A1A3-26834DE1306A}" sibTransId="{34617EF9-AC5A-49CE-BF27-B2A35E31D8BF}"/>
    <dgm:cxn modelId="{42A95916-46F7-4050-9E03-A4A6C0EA2B1B}" type="presOf" srcId="{52461B4D-01F0-4B10-8D4E-A7B6838E7F70}" destId="{B272C1A5-660F-46CD-9006-636A94979A40}" srcOrd="0" destOrd="0" presId="urn:microsoft.com/office/officeart/2005/8/layout/cycle4"/>
    <dgm:cxn modelId="{05553539-6F29-4AFF-992A-D5FA355F6936}" srcId="{E8C5E729-28F9-4B9E-BE7C-0EEFCDC3CC17}" destId="{EB43EBFD-D00E-4B14-95EC-EAAF6939EF1C}" srcOrd="1" destOrd="0" parTransId="{A42629E3-A251-4B01-A046-11CF425E5ACE}" sibTransId="{CFCCB656-FC05-4280-A03F-EADC2176ACCD}"/>
    <dgm:cxn modelId="{FA263892-4DCB-4305-BFE2-E6FC20598B64}" type="presParOf" srcId="{59DEDB2E-E31F-4762-AE4B-14C7A738F931}" destId="{FCC3649E-9162-48C9-9EE4-2C4F92C571FB}" srcOrd="0" destOrd="0" presId="urn:microsoft.com/office/officeart/2005/8/layout/cycle4"/>
    <dgm:cxn modelId="{2C3037B3-4830-431C-851A-8C0FDF2D0C09}" type="presParOf" srcId="{FCC3649E-9162-48C9-9EE4-2C4F92C571FB}" destId="{26515D8F-9BB0-471C-B393-41365F95844E}" srcOrd="0" destOrd="0" presId="urn:microsoft.com/office/officeart/2005/8/layout/cycle4"/>
    <dgm:cxn modelId="{B9F742D0-647E-48A6-8A82-AE828E7E0B65}" type="presParOf" srcId="{59DEDB2E-E31F-4762-AE4B-14C7A738F931}" destId="{1B52904B-FDAA-4410-8030-8978F53E1F32}" srcOrd="1" destOrd="0" presId="urn:microsoft.com/office/officeart/2005/8/layout/cycle4"/>
    <dgm:cxn modelId="{1561C592-2DF1-420C-B438-31AAC91DC95B}" type="presParOf" srcId="{1B52904B-FDAA-4410-8030-8978F53E1F32}" destId="{B272C1A5-660F-46CD-9006-636A94979A40}" srcOrd="0" destOrd="0" presId="urn:microsoft.com/office/officeart/2005/8/layout/cycle4"/>
    <dgm:cxn modelId="{A8EDA303-9476-4C2B-967A-9FF4D87D8B1E}" type="presParOf" srcId="{1B52904B-FDAA-4410-8030-8978F53E1F32}" destId="{B937EF70-151E-4ACD-886D-AB90A9715064}" srcOrd="1" destOrd="0" presId="urn:microsoft.com/office/officeart/2005/8/layout/cycle4"/>
    <dgm:cxn modelId="{912B5E77-BEE2-42C6-AC2B-27AB99B6010D}" type="presParOf" srcId="{1B52904B-FDAA-4410-8030-8978F53E1F32}" destId="{7F0565DF-AD1B-4467-8B0E-FA487BA4C6A8}" srcOrd="2" destOrd="0" presId="urn:microsoft.com/office/officeart/2005/8/layout/cycle4"/>
    <dgm:cxn modelId="{815C250C-80E6-445B-BCB2-A56E315B53C9}" type="presParOf" srcId="{1B52904B-FDAA-4410-8030-8978F53E1F32}" destId="{F216BE44-56C5-4755-AC4A-45851AE1129C}" srcOrd="3" destOrd="0" presId="urn:microsoft.com/office/officeart/2005/8/layout/cycle4"/>
    <dgm:cxn modelId="{6716E0BF-E629-4826-ADB2-E6F31C4BA612}" type="presParOf" srcId="{1B52904B-FDAA-4410-8030-8978F53E1F32}" destId="{68A4E3BE-2427-4D0F-8EEA-CCB6D8AB07BE}" srcOrd="4" destOrd="0" presId="urn:microsoft.com/office/officeart/2005/8/layout/cycle4"/>
    <dgm:cxn modelId="{7EED37C6-DFE2-4816-BB5A-7D4D09425A27}" type="presParOf" srcId="{59DEDB2E-E31F-4762-AE4B-14C7A738F931}" destId="{33C0A81C-6E07-4926-9872-2F37FE54186D}" srcOrd="2" destOrd="0" presId="urn:microsoft.com/office/officeart/2005/8/layout/cycle4"/>
    <dgm:cxn modelId="{13B14793-B408-4B51-A08D-B76737AD4604}" type="presParOf" srcId="{59DEDB2E-E31F-4762-AE4B-14C7A738F931}" destId="{91941CB6-D64D-42CA-A474-7115AA59E09E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72C1A5-660F-46CD-9006-636A94979A40}">
      <dsp:nvSpPr>
        <dsp:cNvPr id="0" name=""/>
        <dsp:cNvSpPr/>
      </dsp:nvSpPr>
      <dsp:spPr>
        <a:xfrm>
          <a:off x="518287" y="101276"/>
          <a:ext cx="769344" cy="769344"/>
        </a:xfrm>
        <a:prstGeom prst="pieWedg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b="1" kern="1200" smtClean="0">
              <a:latin typeface="华文楷体" panose="02010600040101010101" pitchFamily="2" charset="-122"/>
              <a:ea typeface="华文楷体" panose="02010600040101010101" pitchFamily="2" charset="-122"/>
            </a:rPr>
            <a:t>上架</a:t>
          </a:r>
          <a:endParaRPr lang="zh-CN" altLang="en-US" sz="1300" b="1" kern="1200">
            <a:latin typeface="华文楷体" panose="02010600040101010101" pitchFamily="2" charset="-122"/>
            <a:ea typeface="华文楷体" panose="02010600040101010101" pitchFamily="2" charset="-122"/>
          </a:endParaRPr>
        </a:p>
      </dsp:txBody>
      <dsp:txXfrm>
        <a:off x="743623" y="326612"/>
        <a:ext cx="544008" cy="544008"/>
      </dsp:txXfrm>
    </dsp:sp>
    <dsp:sp modelId="{B937EF70-151E-4ACD-886D-AB90A9715064}">
      <dsp:nvSpPr>
        <dsp:cNvPr id="0" name=""/>
        <dsp:cNvSpPr/>
      </dsp:nvSpPr>
      <dsp:spPr>
        <a:xfrm rot="5400000">
          <a:off x="1323168" y="101276"/>
          <a:ext cx="769344" cy="769344"/>
        </a:xfrm>
        <a:prstGeom prst="pieWedge">
          <a:avLst/>
        </a:prstGeom>
        <a:solidFill>
          <a:schemeClr val="accent2">
            <a:shade val="80000"/>
            <a:hueOff val="-110738"/>
            <a:satOff val="-14365"/>
            <a:lumOff val="11453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b="1" kern="1200" smtClean="0">
              <a:latin typeface="华文楷体" panose="02010600040101010101" pitchFamily="2" charset="-122"/>
              <a:ea typeface="华文楷体" panose="02010600040101010101" pitchFamily="2" charset="-122"/>
            </a:rPr>
            <a:t>监控</a:t>
          </a:r>
          <a:endParaRPr lang="zh-CN" altLang="en-US" sz="1300" b="1" kern="1200">
            <a:latin typeface="华文楷体" panose="02010600040101010101" pitchFamily="2" charset="-122"/>
            <a:ea typeface="华文楷体" panose="02010600040101010101" pitchFamily="2" charset="-122"/>
          </a:endParaRPr>
        </a:p>
      </dsp:txBody>
      <dsp:txXfrm rot="-5400000">
        <a:off x="1323168" y="326612"/>
        <a:ext cx="544008" cy="544008"/>
      </dsp:txXfrm>
    </dsp:sp>
    <dsp:sp modelId="{7F0565DF-AD1B-4467-8B0E-FA487BA4C6A8}">
      <dsp:nvSpPr>
        <dsp:cNvPr id="0" name=""/>
        <dsp:cNvSpPr/>
      </dsp:nvSpPr>
      <dsp:spPr>
        <a:xfrm rot="10800000">
          <a:off x="1323168" y="906156"/>
          <a:ext cx="769344" cy="769344"/>
        </a:xfrm>
        <a:prstGeom prst="pieWedge">
          <a:avLst/>
        </a:prstGeom>
        <a:solidFill>
          <a:schemeClr val="accent2">
            <a:shade val="80000"/>
            <a:hueOff val="-221476"/>
            <a:satOff val="-28730"/>
            <a:lumOff val="22905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b="1" kern="1200" smtClean="0">
              <a:latin typeface="华文楷体" panose="02010600040101010101" pitchFamily="2" charset="-122"/>
              <a:ea typeface="华文楷体" panose="02010600040101010101" pitchFamily="2" charset="-122"/>
            </a:rPr>
            <a:t>质检</a:t>
          </a:r>
          <a:endParaRPr lang="zh-CN" altLang="en-US" sz="1300" b="1" kern="1200">
            <a:latin typeface="华文楷体" panose="02010600040101010101" pitchFamily="2" charset="-122"/>
            <a:ea typeface="华文楷体" panose="02010600040101010101" pitchFamily="2" charset="-122"/>
          </a:endParaRPr>
        </a:p>
      </dsp:txBody>
      <dsp:txXfrm rot="10800000">
        <a:off x="1323168" y="906156"/>
        <a:ext cx="544008" cy="544008"/>
      </dsp:txXfrm>
    </dsp:sp>
    <dsp:sp modelId="{F216BE44-56C5-4755-AC4A-45851AE1129C}">
      <dsp:nvSpPr>
        <dsp:cNvPr id="0" name=""/>
        <dsp:cNvSpPr/>
      </dsp:nvSpPr>
      <dsp:spPr>
        <a:xfrm rot="16200000">
          <a:off x="518287" y="906156"/>
          <a:ext cx="769344" cy="769344"/>
        </a:xfrm>
        <a:prstGeom prst="pieWedge">
          <a:avLst/>
        </a:prstGeom>
        <a:solidFill>
          <a:schemeClr val="accent2">
            <a:shade val="80000"/>
            <a:hueOff val="-332214"/>
            <a:satOff val="-43095"/>
            <a:lumOff val="34358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300" b="1" kern="1200" smtClean="0">
              <a:latin typeface="华文楷体" panose="02010600040101010101" pitchFamily="2" charset="-122"/>
              <a:ea typeface="华文楷体" panose="02010600040101010101" pitchFamily="2" charset="-122"/>
            </a:rPr>
            <a:t>下架</a:t>
          </a:r>
          <a:endParaRPr lang="zh-CN" altLang="en-US" sz="1300" b="1" kern="1200">
            <a:latin typeface="华文楷体" panose="02010600040101010101" pitchFamily="2" charset="-122"/>
            <a:ea typeface="华文楷体" panose="02010600040101010101" pitchFamily="2" charset="-122"/>
          </a:endParaRPr>
        </a:p>
      </dsp:txBody>
      <dsp:txXfrm rot="5400000">
        <a:off x="743623" y="906156"/>
        <a:ext cx="544008" cy="544008"/>
      </dsp:txXfrm>
    </dsp:sp>
    <dsp:sp modelId="{33C0A81C-6E07-4926-9872-2F37FE54186D}">
      <dsp:nvSpPr>
        <dsp:cNvPr id="0" name=""/>
        <dsp:cNvSpPr/>
      </dsp:nvSpPr>
      <dsp:spPr>
        <a:xfrm>
          <a:off x="1172586" y="728478"/>
          <a:ext cx="265628" cy="230981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941CB6-D64D-42CA-A474-7115AA59E09E}">
      <dsp:nvSpPr>
        <dsp:cNvPr id="0" name=""/>
        <dsp:cNvSpPr/>
      </dsp:nvSpPr>
      <dsp:spPr>
        <a:xfrm rot="10800000">
          <a:off x="1172586" y="817317"/>
          <a:ext cx="265628" cy="230981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DEB592-4342-4626-B65A-344EA29E138E}" type="datetimeFigureOut">
              <a:rPr lang="zh-CN" altLang="en-US" smtClean="0"/>
              <a:t>2023-6-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7A3181-990A-4120-AFB0-8FE45C1292C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560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A3181-990A-4120-AFB0-8FE45C1292CD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5945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A3181-990A-4120-AFB0-8FE45C1292CD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05353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A3181-990A-4120-AFB0-8FE45C1292CD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12569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A3181-990A-4120-AFB0-8FE45C1292CD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9793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6FDB6-6D2B-46C1-9FA1-D82906A37C3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129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943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0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292049" y="5214618"/>
            <a:ext cx="7607902" cy="436195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0" baseline="0">
                <a:solidFill>
                  <a:schemeClr val="accent1">
                    <a:lumMod val="75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2292049" y="2257799"/>
            <a:ext cx="7607902" cy="1431161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ctr">
              <a:lnSpc>
                <a:spcPct val="93000"/>
              </a:lnSpc>
              <a:defRPr sz="5000" b="1" baseline="0">
                <a:solidFill>
                  <a:schemeClr val="accent1">
                    <a:lumMod val="75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altLang="zh-CN" dirty="0" smtClean="0"/>
              <a:t>Title in Title Case</a:t>
            </a:r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773" y="266019"/>
            <a:ext cx="2564426" cy="66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59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595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5 Sample slides black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文本框 2"/>
          <p:cNvSpPr txBox="1"/>
          <p:nvPr/>
        </p:nvSpPr>
        <p:spPr>
          <a:xfrm>
            <a:off x="11677527" y="6399355"/>
            <a:ext cx="484094" cy="4222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D5ACA-62CA-46DB-AD6B-12EDD6D51A23}" type="slidenum">
              <a:rPr lang="zh-CN" altLang="en-US" sz="1000" smtClean="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pPr marL="0" marR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zh-CN" altLang="en-US" sz="1000" dirty="0">
              <a:solidFill>
                <a:schemeClr val="tx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pic>
        <p:nvPicPr>
          <p:cNvPr id="20" name="Picture 1">
            <a:extLst>
              <a:ext uri="{FF2B5EF4-FFF2-40B4-BE49-F238E27FC236}">
                <a16:creationId xmlns:a16="http://schemas.microsoft.com/office/drawing/2014/main" id="{2A8F2B94-CBFB-4E46-9264-F6EA051F765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6" t="3889" r="23646" b="3889"/>
          <a:stretch/>
        </p:blipFill>
        <p:spPr>
          <a:xfrm>
            <a:off x="368088" y="1470025"/>
            <a:ext cx="3980888" cy="3917950"/>
          </a:xfrm>
          <a:prstGeom prst="rect">
            <a:avLst/>
          </a:prstGeom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8088" y="2676293"/>
            <a:ext cx="3980888" cy="147396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58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145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8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altLang="zh-CN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5 Sample slides black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0000" y="476249"/>
            <a:ext cx="11478878" cy="55335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lnSpc>
                <a:spcPct val="100000"/>
              </a:lnSpc>
              <a:defRPr b="1"/>
            </a:lvl1pPr>
          </a:lstStyle>
          <a:p>
            <a:r>
              <a:rPr lang="en-US" altLang="zh-CN" dirty="0" smtClean="0"/>
              <a:t>Click to add title</a:t>
            </a:r>
            <a:endParaRPr lang="en-US" dirty="0"/>
          </a:p>
        </p:txBody>
      </p:sp>
      <p:sp>
        <p:nvSpPr>
          <p:cNvPr id="13" name="文本框 2"/>
          <p:cNvSpPr txBox="1"/>
          <p:nvPr/>
        </p:nvSpPr>
        <p:spPr>
          <a:xfrm>
            <a:off x="11677527" y="6399355"/>
            <a:ext cx="484094" cy="4222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D5ACA-62CA-46DB-AD6B-12EDD6D51A23}" type="slidenum">
              <a:rPr lang="zh-CN" altLang="en-US" sz="1000" smtClean="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pPr marL="0" marR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zh-CN" altLang="en-US" sz="1000" dirty="0">
              <a:solidFill>
                <a:schemeClr val="tx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标题 2"/>
          <p:cNvSpPr txBox="1">
            <a:spLocks/>
          </p:cNvSpPr>
          <p:nvPr userDrawn="1"/>
        </p:nvSpPr>
        <p:spPr>
          <a:xfrm>
            <a:off x="4562177" y="6518622"/>
            <a:ext cx="3281834" cy="262259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zh-CN" altLang="en-US" sz="1600">
                <a:latin typeface="华文楷体" panose="02010600040101010101" pitchFamily="2" charset="-122"/>
                <a:ea typeface="华文楷体" panose="02010600040101010101" pitchFamily="2" charset="-122"/>
              </a:rPr>
              <a:t>数</a:t>
            </a:r>
            <a:r>
              <a:rPr lang="zh-CN" altLang="en-US" sz="160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字员工     让工作更轻松</a:t>
            </a:r>
            <a:endParaRPr lang="zh-CN" altLang="en-US" sz="16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2514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8483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4" name="think-cell 幻灯片" r:id="rId4" imgW="270" imgH="270" progId="TCLayout.ActiveDocument.1">
                  <p:embed/>
                </p:oleObj>
              </mc:Choice>
              <mc:Fallback>
                <p:oleObj name="think-cell 幻灯片" r:id="rId4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4">
            <a:extLst>
              <a:ext uri="{FF2B5EF4-FFF2-40B4-BE49-F238E27FC236}">
                <a16:creationId xmlns:a16="http://schemas.microsoft.com/office/drawing/2014/main" id="{4688EABA-F0A4-4BC8-8089-E4223551FD8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71" t="5185" r="24271" b="5185"/>
          <a:stretch/>
        </p:blipFill>
        <p:spPr>
          <a:xfrm>
            <a:off x="2981540" y="379141"/>
            <a:ext cx="6225744" cy="6099718"/>
          </a:xfrm>
          <a:prstGeom prst="rect">
            <a:avLst/>
          </a:prstGeom>
        </p:spPr>
      </p:pic>
      <p:sp>
        <p:nvSpPr>
          <p:cNvPr id="7" name="文本占位符 6"/>
          <p:cNvSpPr>
            <a:spLocks noGrp="1"/>
          </p:cNvSpPr>
          <p:nvPr>
            <p:ph type="body" sz="quarter" idx="11" hasCustomPrompt="1"/>
          </p:nvPr>
        </p:nvSpPr>
        <p:spPr>
          <a:xfrm>
            <a:off x="2215356" y="2457450"/>
            <a:ext cx="7758113" cy="1943100"/>
          </a:xfrm>
        </p:spPr>
        <p:txBody>
          <a:bodyPr anchor="ctr"/>
          <a:lstStyle>
            <a:lvl1pPr algn="ctr">
              <a:defRPr sz="44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altLang="zh-CN" dirty="0" smtClean="0"/>
              <a:t>Click to add content</a:t>
            </a:r>
            <a:endParaRPr lang="zh-CN" altLang="en-US" dirty="0" smtClean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399" y="2799000"/>
            <a:ext cx="2112026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21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459801"/>
            <a:ext cx="12187237" cy="3436049"/>
          </a:xfrm>
          <a:prstGeom prst="rect">
            <a:avLst/>
          </a:prstGeom>
        </p:spPr>
      </p:pic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771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16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图片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773" y="285069"/>
            <a:ext cx="2564426" cy="666751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>
          <a:xfrm>
            <a:off x="-4763" y="1326451"/>
            <a:ext cx="12192000" cy="381704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491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标题 2"/>
          <p:cNvSpPr txBox="1">
            <a:spLocks/>
          </p:cNvSpPr>
          <p:nvPr userDrawn="1"/>
        </p:nvSpPr>
        <p:spPr>
          <a:xfrm>
            <a:off x="4562177" y="6518622"/>
            <a:ext cx="3281834" cy="262259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zh-CN" altLang="en-US" sz="1600">
                <a:latin typeface="华文楷体" panose="02010600040101010101" pitchFamily="2" charset="-122"/>
                <a:ea typeface="华文楷体" panose="02010600040101010101" pitchFamily="2" charset="-122"/>
              </a:rPr>
              <a:t>数</a:t>
            </a:r>
            <a:r>
              <a:rPr lang="zh-CN" altLang="en-US" sz="160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字员工     让工作更轻松</a:t>
            </a:r>
            <a:endParaRPr lang="zh-CN" altLang="en-US" sz="1600" dirty="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1466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92668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3" name="think-cell 幻灯片" r:id="rId10" imgW="270" imgH="270" progId="TCLayout.ActiveDocument.1">
                  <p:embed/>
                </p:oleObj>
              </mc:Choice>
              <mc:Fallback>
                <p:oleObj name="think-cell 幻灯片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579382" y="6437745"/>
            <a:ext cx="612617" cy="4202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60000" y="176259"/>
            <a:ext cx="11478878" cy="72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60000" y="977154"/>
            <a:ext cx="11478878" cy="5323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</a:t>
            </a:r>
            <a:r>
              <a:rPr lang="en-US" dirty="0" smtClean="0"/>
              <a:t>level</a:t>
            </a:r>
          </a:p>
        </p:txBody>
      </p:sp>
      <p:sp>
        <p:nvSpPr>
          <p:cNvPr id="11" name="文本框 2"/>
          <p:cNvSpPr txBox="1"/>
          <p:nvPr/>
        </p:nvSpPr>
        <p:spPr>
          <a:xfrm>
            <a:off x="11677527" y="6399355"/>
            <a:ext cx="484094" cy="4222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8D5ACA-62CA-46DB-AD6B-12EDD6D51A23}" type="slidenum">
              <a:rPr lang="zh-CN" altLang="en-US" sz="1000" smtClean="0">
                <a:solidFill>
                  <a:schemeClr val="tx1"/>
                </a:solidFill>
                <a:latin typeface="Arial" panose="020B0604020202020204" pitchFamily="34" charset="0"/>
                <a:ea typeface="华文楷体" panose="02010600040101010101" pitchFamily="2" charset="-122"/>
                <a:cs typeface="Arial" panose="020B0604020202020204" pitchFamily="34" charset="0"/>
              </a:rPr>
              <a:pPr marL="0" marR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zh-CN" altLang="en-US" sz="1000" dirty="0">
              <a:solidFill>
                <a:schemeClr val="tx1"/>
              </a:solidFill>
              <a:latin typeface="Arial" panose="020B0604020202020204" pitchFamily="34" charset="0"/>
              <a:ea typeface="华文楷体" panose="0201060004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2030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6" r:id="rId4"/>
    <p:sldLayoutId id="2147483679" r:id="rId5"/>
    <p:sldLayoutId id="2147483680" r:id="rId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Arial" panose="020B0604020202020204" pitchFamily="34" charset="0"/>
        <a:buChar char="​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lang="en-US" sz="14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9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40" name="think-cell 幻灯片" r:id="rId5" imgW="270" imgH="270" progId="TCLayout.ActiveDocument.1">
                  <p:embed/>
                </p:oleObj>
              </mc:Choice>
              <mc:Fallback>
                <p:oleObj name="think-cell 幻灯片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2"/>
          <p:cNvSpPr txBox="1">
            <a:spLocks/>
          </p:cNvSpPr>
          <p:nvPr/>
        </p:nvSpPr>
        <p:spPr>
          <a:xfrm>
            <a:off x="114042" y="2033030"/>
            <a:ext cx="11072274" cy="1638437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zh-CN" altLang="en-US" sz="4600" smtClean="0">
                <a:solidFill>
                  <a:schemeClr val="tx1"/>
                </a:solidFill>
              </a:rPr>
              <a:t>网银交易任务自</a:t>
            </a:r>
            <a:r>
              <a:rPr lang="zh-CN" altLang="en-US" sz="4600">
                <a:solidFill>
                  <a:schemeClr val="tx1"/>
                </a:solidFill>
              </a:rPr>
              <a:t>动化</a:t>
            </a:r>
          </a:p>
          <a:p>
            <a:pPr algn="ctr"/>
            <a:r>
              <a:rPr lang="en-US" altLang="zh-CN" sz="3600" smtClean="0">
                <a:solidFill>
                  <a:schemeClr val="tx1"/>
                </a:solidFill>
              </a:rPr>
              <a:t>【</a:t>
            </a:r>
            <a:r>
              <a:rPr lang="zh-CN" altLang="en-US" sz="3600" smtClean="0">
                <a:solidFill>
                  <a:schemeClr val="tx1"/>
                </a:solidFill>
              </a:rPr>
              <a:t>财务作业</a:t>
            </a:r>
            <a:r>
              <a:rPr lang="en-US" altLang="zh-CN" sz="3600" smtClean="0">
                <a:solidFill>
                  <a:schemeClr val="tx1"/>
                </a:solidFill>
              </a:rPr>
              <a:t>】</a:t>
            </a:r>
            <a:endParaRPr lang="en-US" altLang="zh-CN" sz="3600" dirty="0" smtClean="0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2259939" y="4052310"/>
            <a:ext cx="7043088" cy="1233937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l"/>
            <a:r>
              <a:rPr lang="zh-CN" altLang="en-US" sz="2200" smtClean="0">
                <a:solidFill>
                  <a:schemeClr val="tx1"/>
                </a:solidFill>
              </a:rPr>
              <a:t>公司名称：深圳平安综合金融服务有限公司财务服务中心</a:t>
            </a:r>
            <a:endParaRPr lang="zh-CN" altLang="en-US" sz="2200">
              <a:solidFill>
                <a:schemeClr val="tx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208722" y="149087"/>
            <a:ext cx="2822714" cy="89452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zh-CN" alt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332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 txBox="1">
            <a:spLocks/>
          </p:cNvSpPr>
          <p:nvPr/>
        </p:nvSpPr>
        <p:spPr>
          <a:xfrm>
            <a:off x="5552616" y="2573944"/>
            <a:ext cx="2080636" cy="4961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 smtClean="0">
                <a:solidFill>
                  <a:srgbClr val="FFFFFF"/>
                </a:solidFill>
                <a:ea typeface="楷体"/>
              </a:rPr>
              <a:t>谢谢观看！</a:t>
            </a:r>
            <a:endParaRPr kumimoji="0" lang="zh-CN" alt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楷体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9482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>
                <a:latin typeface="+mj-ea"/>
              </a:rPr>
              <a:t>平安金服</a:t>
            </a:r>
            <a:r>
              <a:rPr lang="en-US" altLang="zh-CN" smtClean="0">
                <a:latin typeface="+mj-ea"/>
              </a:rPr>
              <a:t>RPA</a:t>
            </a:r>
            <a:r>
              <a:rPr lang="zh-CN" altLang="en-US">
                <a:latin typeface="+mj-ea"/>
              </a:rPr>
              <a:t>：从尝试到拓展，开拓创新，与时偕行</a:t>
            </a:r>
          </a:p>
        </p:txBody>
      </p:sp>
      <p:sp>
        <p:nvSpPr>
          <p:cNvPr id="71" name="矩形 70"/>
          <p:cNvSpPr/>
          <p:nvPr/>
        </p:nvSpPr>
        <p:spPr>
          <a:xfrm>
            <a:off x="4197860" y="1546386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华文楷体"/>
              <a:ea typeface="华文楷体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7715268" y="1546428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华文楷体"/>
              <a:ea typeface="华文楷体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8397112" y="4474065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华文楷体"/>
              <a:ea typeface="华文楷体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4781509" y="4475694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华文楷体"/>
              <a:ea typeface="华文楷体"/>
            </a:endParaRPr>
          </a:p>
        </p:txBody>
      </p:sp>
      <p:sp>
        <p:nvSpPr>
          <p:cNvPr id="75" name="矩形 74"/>
          <p:cNvSpPr/>
          <p:nvPr/>
        </p:nvSpPr>
        <p:spPr>
          <a:xfrm>
            <a:off x="1177479" y="4470388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华文楷体"/>
              <a:ea typeface="华文楷体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691611" y="1546543"/>
            <a:ext cx="3441766" cy="1052325"/>
          </a:xfrm>
          <a:prstGeom prst="rect">
            <a:avLst/>
          </a:prstGeom>
          <a:noFill/>
          <a:ln w="9525">
            <a:solidFill>
              <a:schemeClr val="accent3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cxnSp>
        <p:nvCxnSpPr>
          <p:cNvPr id="77" name="直接连接符 76"/>
          <p:cNvCxnSpPr/>
          <p:nvPr/>
        </p:nvCxnSpPr>
        <p:spPr>
          <a:xfrm>
            <a:off x="785516" y="2931913"/>
            <a:ext cx="10515600" cy="9338"/>
          </a:xfrm>
          <a:prstGeom prst="line">
            <a:avLst/>
          </a:prstGeom>
          <a:noFill/>
          <a:ln w="444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78" name="直接连接符 77"/>
          <p:cNvCxnSpPr/>
          <p:nvPr/>
        </p:nvCxnSpPr>
        <p:spPr>
          <a:xfrm>
            <a:off x="785516" y="4019523"/>
            <a:ext cx="10515600" cy="13928"/>
          </a:xfrm>
          <a:prstGeom prst="lin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79" name="弧形 78"/>
          <p:cNvSpPr/>
          <p:nvPr/>
        </p:nvSpPr>
        <p:spPr>
          <a:xfrm rot="10800000" flipH="1">
            <a:off x="10704867" y="2945840"/>
            <a:ext cx="1081039" cy="1096321"/>
          </a:xfrm>
          <a:prstGeom prst="arc">
            <a:avLst>
              <a:gd name="adj1" fmla="val 16200000"/>
              <a:gd name="adj2" fmla="val 5223358"/>
            </a:avLst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80" name="直接箭头连接符 79"/>
          <p:cNvCxnSpPr/>
          <p:nvPr/>
        </p:nvCxnSpPr>
        <p:spPr>
          <a:xfrm>
            <a:off x="1046559" y="2925195"/>
            <a:ext cx="226060" cy="2129"/>
          </a:xfrm>
          <a:prstGeom prst="straightConnector1">
            <a:avLst/>
          </a:prstGeom>
          <a:ln w="7620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椭圆 134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2603926" y="2844685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  <p:sp>
        <p:nvSpPr>
          <p:cNvPr id="136" name="íṥlîḑê"/>
          <p:cNvSpPr/>
          <p:nvPr/>
        </p:nvSpPr>
        <p:spPr bwMode="auto">
          <a:xfrm rot="883250">
            <a:off x="2892078" y="2731532"/>
            <a:ext cx="348388" cy="717682"/>
          </a:xfrm>
          <a:custGeom>
            <a:avLst/>
            <a:gdLst>
              <a:gd name="T0" fmla="*/ 90 w 213"/>
              <a:gd name="T1" fmla="*/ 374 h 573"/>
              <a:gd name="T2" fmla="*/ 83 w 213"/>
              <a:gd name="T3" fmla="*/ 427 h 573"/>
              <a:gd name="T4" fmla="*/ 55 w 213"/>
              <a:gd name="T5" fmla="*/ 498 h 573"/>
              <a:gd name="T6" fmla="*/ 63 w 213"/>
              <a:gd name="T7" fmla="*/ 550 h 573"/>
              <a:gd name="T8" fmla="*/ 85 w 213"/>
              <a:gd name="T9" fmla="*/ 567 h 573"/>
              <a:gd name="T10" fmla="*/ 14 w 213"/>
              <a:gd name="T11" fmla="*/ 554 h 573"/>
              <a:gd name="T12" fmla="*/ 22 w 213"/>
              <a:gd name="T13" fmla="*/ 496 h 573"/>
              <a:gd name="T14" fmla="*/ 44 w 213"/>
              <a:gd name="T15" fmla="*/ 389 h 573"/>
              <a:gd name="T16" fmla="*/ 36 w 213"/>
              <a:gd name="T17" fmla="*/ 335 h 573"/>
              <a:gd name="T18" fmla="*/ 24 w 213"/>
              <a:gd name="T19" fmla="*/ 251 h 573"/>
              <a:gd name="T20" fmla="*/ 20 w 213"/>
              <a:gd name="T21" fmla="*/ 103 h 573"/>
              <a:gd name="T22" fmla="*/ 31 w 213"/>
              <a:gd name="T23" fmla="*/ 55 h 573"/>
              <a:gd name="T24" fmla="*/ 86 w 213"/>
              <a:gd name="T25" fmla="*/ 29 h 573"/>
              <a:gd name="T26" fmla="*/ 94 w 213"/>
              <a:gd name="T27" fmla="*/ 55 h 573"/>
              <a:gd name="T28" fmla="*/ 94 w 213"/>
              <a:gd name="T29" fmla="*/ 13 h 573"/>
              <a:gd name="T30" fmla="*/ 120 w 213"/>
              <a:gd name="T31" fmla="*/ 13 h 573"/>
              <a:gd name="T32" fmla="*/ 122 w 213"/>
              <a:gd name="T33" fmla="*/ 37 h 573"/>
              <a:gd name="T34" fmla="*/ 91 w 213"/>
              <a:gd name="T35" fmla="*/ 98 h 573"/>
              <a:gd name="T36" fmla="*/ 106 w 213"/>
              <a:gd name="T37" fmla="*/ 104 h 573"/>
              <a:gd name="T38" fmla="*/ 140 w 213"/>
              <a:gd name="T39" fmla="*/ 57 h 573"/>
              <a:gd name="T40" fmla="*/ 141 w 213"/>
              <a:gd name="T41" fmla="*/ 23 h 573"/>
              <a:gd name="T42" fmla="*/ 164 w 213"/>
              <a:gd name="T43" fmla="*/ 41 h 573"/>
              <a:gd name="T44" fmla="*/ 149 w 213"/>
              <a:gd name="T45" fmla="*/ 86 h 573"/>
              <a:gd name="T46" fmla="*/ 114 w 213"/>
              <a:gd name="T47" fmla="*/ 139 h 573"/>
              <a:gd name="T48" fmla="*/ 89 w 213"/>
              <a:gd name="T49" fmla="*/ 166 h 573"/>
              <a:gd name="T50" fmla="*/ 88 w 213"/>
              <a:gd name="T51" fmla="*/ 249 h 573"/>
              <a:gd name="T52" fmla="*/ 196 w 213"/>
              <a:gd name="T53" fmla="*/ 275 h 573"/>
              <a:gd name="T54" fmla="*/ 188 w 213"/>
              <a:gd name="T55" fmla="*/ 341 h 573"/>
              <a:gd name="T56" fmla="*/ 148 w 213"/>
              <a:gd name="T57" fmla="*/ 400 h 573"/>
              <a:gd name="T58" fmla="*/ 166 w 213"/>
              <a:gd name="T59" fmla="*/ 425 h 573"/>
              <a:gd name="T60" fmla="*/ 184 w 213"/>
              <a:gd name="T61" fmla="*/ 434 h 573"/>
              <a:gd name="T62" fmla="*/ 140 w 213"/>
              <a:gd name="T63" fmla="*/ 432 h 573"/>
              <a:gd name="T64" fmla="*/ 110 w 213"/>
              <a:gd name="T65" fmla="*/ 400 h 573"/>
              <a:gd name="T66" fmla="*/ 141 w 213"/>
              <a:gd name="T67" fmla="*/ 351 h 573"/>
              <a:gd name="T68" fmla="*/ 89 w 213"/>
              <a:gd name="T69" fmla="*/ 310 h 5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3" h="573">
                <a:moveTo>
                  <a:pt x="89" y="310"/>
                </a:moveTo>
                <a:cubicBezTo>
                  <a:pt x="89" y="310"/>
                  <a:pt x="95" y="344"/>
                  <a:pt x="90" y="374"/>
                </a:cubicBezTo>
                <a:cubicBezTo>
                  <a:pt x="90" y="374"/>
                  <a:pt x="88" y="395"/>
                  <a:pt x="89" y="402"/>
                </a:cubicBezTo>
                <a:cubicBezTo>
                  <a:pt x="90" y="410"/>
                  <a:pt x="86" y="422"/>
                  <a:pt x="83" y="427"/>
                </a:cubicBezTo>
                <a:cubicBezTo>
                  <a:pt x="80" y="432"/>
                  <a:pt x="75" y="446"/>
                  <a:pt x="75" y="450"/>
                </a:cubicBezTo>
                <a:cubicBezTo>
                  <a:pt x="74" y="453"/>
                  <a:pt x="58" y="492"/>
                  <a:pt x="55" y="498"/>
                </a:cubicBezTo>
                <a:cubicBezTo>
                  <a:pt x="52" y="505"/>
                  <a:pt x="45" y="524"/>
                  <a:pt x="48" y="530"/>
                </a:cubicBezTo>
                <a:cubicBezTo>
                  <a:pt x="50" y="536"/>
                  <a:pt x="58" y="546"/>
                  <a:pt x="63" y="550"/>
                </a:cubicBezTo>
                <a:cubicBezTo>
                  <a:pt x="67" y="555"/>
                  <a:pt x="73" y="560"/>
                  <a:pt x="78" y="560"/>
                </a:cubicBezTo>
                <a:cubicBezTo>
                  <a:pt x="83" y="560"/>
                  <a:pt x="91" y="566"/>
                  <a:pt x="85" y="567"/>
                </a:cubicBezTo>
                <a:cubicBezTo>
                  <a:pt x="80" y="568"/>
                  <a:pt x="49" y="573"/>
                  <a:pt x="42" y="567"/>
                </a:cubicBezTo>
                <a:cubicBezTo>
                  <a:pt x="35" y="561"/>
                  <a:pt x="18" y="557"/>
                  <a:pt x="14" y="554"/>
                </a:cubicBezTo>
                <a:cubicBezTo>
                  <a:pt x="11" y="551"/>
                  <a:pt x="1" y="542"/>
                  <a:pt x="13" y="530"/>
                </a:cubicBezTo>
                <a:cubicBezTo>
                  <a:pt x="13" y="530"/>
                  <a:pt x="19" y="516"/>
                  <a:pt x="22" y="496"/>
                </a:cubicBezTo>
                <a:cubicBezTo>
                  <a:pt x="25" y="476"/>
                  <a:pt x="38" y="425"/>
                  <a:pt x="47" y="417"/>
                </a:cubicBezTo>
                <a:cubicBezTo>
                  <a:pt x="47" y="417"/>
                  <a:pt x="48" y="398"/>
                  <a:pt x="44" y="389"/>
                </a:cubicBezTo>
                <a:cubicBezTo>
                  <a:pt x="42" y="382"/>
                  <a:pt x="38" y="350"/>
                  <a:pt x="37" y="339"/>
                </a:cubicBezTo>
                <a:cubicBezTo>
                  <a:pt x="36" y="336"/>
                  <a:pt x="36" y="335"/>
                  <a:pt x="36" y="335"/>
                </a:cubicBezTo>
                <a:cubicBezTo>
                  <a:pt x="36" y="335"/>
                  <a:pt x="34" y="313"/>
                  <a:pt x="28" y="309"/>
                </a:cubicBezTo>
                <a:cubicBezTo>
                  <a:pt x="22" y="304"/>
                  <a:pt x="0" y="282"/>
                  <a:pt x="24" y="251"/>
                </a:cubicBezTo>
                <a:cubicBezTo>
                  <a:pt x="24" y="251"/>
                  <a:pt x="25" y="228"/>
                  <a:pt x="21" y="209"/>
                </a:cubicBezTo>
                <a:cubicBezTo>
                  <a:pt x="17" y="189"/>
                  <a:pt x="9" y="117"/>
                  <a:pt x="20" y="103"/>
                </a:cubicBezTo>
                <a:cubicBezTo>
                  <a:pt x="30" y="88"/>
                  <a:pt x="32" y="87"/>
                  <a:pt x="33" y="82"/>
                </a:cubicBezTo>
                <a:cubicBezTo>
                  <a:pt x="33" y="76"/>
                  <a:pt x="33" y="63"/>
                  <a:pt x="31" y="55"/>
                </a:cubicBezTo>
                <a:cubicBezTo>
                  <a:pt x="29" y="47"/>
                  <a:pt x="20" y="20"/>
                  <a:pt x="41" y="10"/>
                </a:cubicBezTo>
                <a:cubicBezTo>
                  <a:pt x="62" y="0"/>
                  <a:pt x="86" y="15"/>
                  <a:pt x="86" y="29"/>
                </a:cubicBezTo>
                <a:cubicBezTo>
                  <a:pt x="86" y="29"/>
                  <a:pt x="93" y="41"/>
                  <a:pt x="89" y="47"/>
                </a:cubicBezTo>
                <a:cubicBezTo>
                  <a:pt x="94" y="55"/>
                  <a:pt x="94" y="55"/>
                  <a:pt x="94" y="55"/>
                </a:cubicBezTo>
                <a:cubicBezTo>
                  <a:pt x="94" y="55"/>
                  <a:pt x="103" y="52"/>
                  <a:pt x="102" y="47"/>
                </a:cubicBezTo>
                <a:cubicBezTo>
                  <a:pt x="101" y="42"/>
                  <a:pt x="86" y="21"/>
                  <a:pt x="94" y="13"/>
                </a:cubicBezTo>
                <a:cubicBezTo>
                  <a:pt x="101" y="9"/>
                  <a:pt x="101" y="9"/>
                  <a:pt x="101" y="9"/>
                </a:cubicBezTo>
                <a:cubicBezTo>
                  <a:pt x="101" y="9"/>
                  <a:pt x="117" y="10"/>
                  <a:pt x="120" y="13"/>
                </a:cubicBezTo>
                <a:cubicBezTo>
                  <a:pt x="124" y="17"/>
                  <a:pt x="128" y="26"/>
                  <a:pt x="122" y="27"/>
                </a:cubicBezTo>
                <a:cubicBezTo>
                  <a:pt x="122" y="27"/>
                  <a:pt x="120" y="33"/>
                  <a:pt x="122" y="37"/>
                </a:cubicBezTo>
                <a:cubicBezTo>
                  <a:pt x="123" y="40"/>
                  <a:pt x="116" y="51"/>
                  <a:pt x="116" y="51"/>
                </a:cubicBezTo>
                <a:cubicBezTo>
                  <a:pt x="116" y="51"/>
                  <a:pt x="99" y="95"/>
                  <a:pt x="91" y="98"/>
                </a:cubicBezTo>
                <a:cubicBezTo>
                  <a:pt x="91" y="98"/>
                  <a:pt x="90" y="101"/>
                  <a:pt x="91" y="101"/>
                </a:cubicBezTo>
                <a:cubicBezTo>
                  <a:pt x="93" y="101"/>
                  <a:pt x="106" y="104"/>
                  <a:pt x="106" y="104"/>
                </a:cubicBezTo>
                <a:cubicBezTo>
                  <a:pt x="106" y="104"/>
                  <a:pt x="127" y="80"/>
                  <a:pt x="130" y="76"/>
                </a:cubicBezTo>
                <a:cubicBezTo>
                  <a:pt x="134" y="73"/>
                  <a:pt x="140" y="64"/>
                  <a:pt x="140" y="57"/>
                </a:cubicBezTo>
                <a:cubicBezTo>
                  <a:pt x="139" y="51"/>
                  <a:pt x="132" y="34"/>
                  <a:pt x="133" y="31"/>
                </a:cubicBezTo>
                <a:cubicBezTo>
                  <a:pt x="134" y="28"/>
                  <a:pt x="141" y="23"/>
                  <a:pt x="141" y="23"/>
                </a:cubicBezTo>
                <a:cubicBezTo>
                  <a:pt x="141" y="23"/>
                  <a:pt x="154" y="20"/>
                  <a:pt x="157" y="23"/>
                </a:cubicBezTo>
                <a:cubicBezTo>
                  <a:pt x="160" y="26"/>
                  <a:pt x="165" y="38"/>
                  <a:pt x="164" y="41"/>
                </a:cubicBezTo>
                <a:cubicBezTo>
                  <a:pt x="164" y="44"/>
                  <a:pt x="157" y="58"/>
                  <a:pt x="156" y="60"/>
                </a:cubicBezTo>
                <a:cubicBezTo>
                  <a:pt x="155" y="63"/>
                  <a:pt x="151" y="76"/>
                  <a:pt x="149" y="86"/>
                </a:cubicBezTo>
                <a:cubicBezTo>
                  <a:pt x="146" y="96"/>
                  <a:pt x="137" y="122"/>
                  <a:pt x="131" y="128"/>
                </a:cubicBezTo>
                <a:cubicBezTo>
                  <a:pt x="131" y="128"/>
                  <a:pt x="119" y="141"/>
                  <a:pt x="114" y="139"/>
                </a:cubicBezTo>
                <a:cubicBezTo>
                  <a:pt x="109" y="137"/>
                  <a:pt x="93" y="139"/>
                  <a:pt x="93" y="139"/>
                </a:cubicBezTo>
                <a:cubicBezTo>
                  <a:pt x="93" y="139"/>
                  <a:pt x="90" y="158"/>
                  <a:pt x="89" y="166"/>
                </a:cubicBezTo>
                <a:cubicBezTo>
                  <a:pt x="87" y="173"/>
                  <a:pt x="86" y="202"/>
                  <a:pt x="87" y="216"/>
                </a:cubicBezTo>
                <a:cubicBezTo>
                  <a:pt x="88" y="229"/>
                  <a:pt x="84" y="246"/>
                  <a:pt x="88" y="249"/>
                </a:cubicBezTo>
                <a:cubicBezTo>
                  <a:pt x="92" y="252"/>
                  <a:pt x="105" y="252"/>
                  <a:pt x="111" y="253"/>
                </a:cubicBezTo>
                <a:cubicBezTo>
                  <a:pt x="117" y="254"/>
                  <a:pt x="155" y="253"/>
                  <a:pt x="196" y="275"/>
                </a:cubicBezTo>
                <a:cubicBezTo>
                  <a:pt x="196" y="275"/>
                  <a:pt x="213" y="284"/>
                  <a:pt x="208" y="303"/>
                </a:cubicBezTo>
                <a:cubicBezTo>
                  <a:pt x="203" y="321"/>
                  <a:pt x="195" y="334"/>
                  <a:pt x="188" y="341"/>
                </a:cubicBezTo>
                <a:cubicBezTo>
                  <a:pt x="182" y="348"/>
                  <a:pt x="165" y="367"/>
                  <a:pt x="161" y="374"/>
                </a:cubicBezTo>
                <a:cubicBezTo>
                  <a:pt x="157" y="381"/>
                  <a:pt x="148" y="395"/>
                  <a:pt x="148" y="400"/>
                </a:cubicBezTo>
                <a:cubicBezTo>
                  <a:pt x="147" y="406"/>
                  <a:pt x="151" y="411"/>
                  <a:pt x="154" y="414"/>
                </a:cubicBezTo>
                <a:cubicBezTo>
                  <a:pt x="157" y="417"/>
                  <a:pt x="163" y="424"/>
                  <a:pt x="166" y="425"/>
                </a:cubicBezTo>
                <a:cubicBezTo>
                  <a:pt x="170" y="426"/>
                  <a:pt x="174" y="428"/>
                  <a:pt x="174" y="428"/>
                </a:cubicBezTo>
                <a:cubicBezTo>
                  <a:pt x="174" y="428"/>
                  <a:pt x="188" y="425"/>
                  <a:pt x="184" y="434"/>
                </a:cubicBezTo>
                <a:cubicBezTo>
                  <a:pt x="184" y="434"/>
                  <a:pt x="169" y="444"/>
                  <a:pt x="166" y="442"/>
                </a:cubicBezTo>
                <a:cubicBezTo>
                  <a:pt x="162" y="440"/>
                  <a:pt x="144" y="438"/>
                  <a:pt x="140" y="432"/>
                </a:cubicBezTo>
                <a:cubicBezTo>
                  <a:pt x="136" y="426"/>
                  <a:pt x="124" y="425"/>
                  <a:pt x="118" y="425"/>
                </a:cubicBezTo>
                <a:cubicBezTo>
                  <a:pt x="113" y="424"/>
                  <a:pt x="95" y="416"/>
                  <a:pt x="110" y="400"/>
                </a:cubicBezTo>
                <a:cubicBezTo>
                  <a:pt x="126" y="385"/>
                  <a:pt x="124" y="380"/>
                  <a:pt x="129" y="371"/>
                </a:cubicBezTo>
                <a:cubicBezTo>
                  <a:pt x="133" y="362"/>
                  <a:pt x="141" y="355"/>
                  <a:pt x="141" y="351"/>
                </a:cubicBezTo>
                <a:cubicBezTo>
                  <a:pt x="141" y="348"/>
                  <a:pt x="152" y="321"/>
                  <a:pt x="158" y="318"/>
                </a:cubicBezTo>
                <a:cubicBezTo>
                  <a:pt x="158" y="318"/>
                  <a:pt x="96" y="315"/>
                  <a:pt x="89" y="310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7" name="文本框 136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2293128" y="3058242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初探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2" name="矩形 81"/>
          <p:cNvSpPr/>
          <p:nvPr/>
        </p:nvSpPr>
        <p:spPr>
          <a:xfrm>
            <a:off x="719021" y="1884651"/>
            <a:ext cx="3446772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确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定与德勤合作，使用</a:t>
            </a:r>
            <a:r>
              <a:rPr kumimoji="0" lang="en-US" altLang="zh-CN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Uipath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开发</a:t>
            </a:r>
            <a:r>
              <a:rPr kumimoji="0" lang="en-US" altLang="zh-CN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RPA</a:t>
            </a: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一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期选择范围为资金流水下载、导入、回单查询、付款对账及信托估值流程</a:t>
            </a:r>
            <a:endParaRPr kumimoji="0" lang="zh-CN" alt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3" name="矩形 82"/>
          <p:cNvSpPr/>
          <p:nvPr/>
        </p:nvSpPr>
        <p:spPr>
          <a:xfrm>
            <a:off x="1884766" y="2735702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>
                <a:latin typeface="Arial"/>
                <a:ea typeface="华文楷体"/>
              </a:rPr>
              <a:t>2017</a:t>
            </a:r>
            <a:r>
              <a:rPr lang="zh-CN" altLang="en-US" sz="1400" b="1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5315992" y="3033773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尝试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4864669" y="2722529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smtClean="0">
                <a:latin typeface="Arial"/>
                <a:ea typeface="华文楷体"/>
              </a:rPr>
              <a:t>2018</a:t>
            </a:r>
            <a:r>
              <a:rPr lang="zh-CN" altLang="en-US" sz="1400" b="1" smtClean="0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86" name="iS1iďe"/>
          <p:cNvSpPr/>
          <p:nvPr/>
        </p:nvSpPr>
        <p:spPr bwMode="auto">
          <a:xfrm>
            <a:off x="5840144" y="2697280"/>
            <a:ext cx="406344" cy="667431"/>
          </a:xfrm>
          <a:custGeom>
            <a:avLst/>
            <a:gdLst>
              <a:gd name="T0" fmla="*/ 149 w 278"/>
              <a:gd name="T1" fmla="*/ 352 h 549"/>
              <a:gd name="T2" fmla="*/ 143 w 278"/>
              <a:gd name="T3" fmla="*/ 416 h 549"/>
              <a:gd name="T4" fmla="*/ 71 w 278"/>
              <a:gd name="T5" fmla="*/ 458 h 549"/>
              <a:gd name="T6" fmla="*/ 32 w 278"/>
              <a:gd name="T7" fmla="*/ 502 h 549"/>
              <a:gd name="T8" fmla="*/ 28 w 278"/>
              <a:gd name="T9" fmla="*/ 531 h 549"/>
              <a:gd name="T10" fmla="*/ 5 w 278"/>
              <a:gd name="T11" fmla="*/ 515 h 549"/>
              <a:gd name="T12" fmla="*/ 2 w 278"/>
              <a:gd name="T13" fmla="*/ 474 h 549"/>
              <a:gd name="T14" fmla="*/ 45 w 278"/>
              <a:gd name="T15" fmla="*/ 440 h 549"/>
              <a:gd name="T16" fmla="*/ 105 w 278"/>
              <a:gd name="T17" fmla="*/ 377 h 549"/>
              <a:gd name="T18" fmla="*/ 75 w 278"/>
              <a:gd name="T19" fmla="*/ 298 h 549"/>
              <a:gd name="T20" fmla="*/ 65 w 278"/>
              <a:gd name="T21" fmla="*/ 191 h 549"/>
              <a:gd name="T22" fmla="*/ 75 w 278"/>
              <a:gd name="T23" fmla="*/ 93 h 549"/>
              <a:gd name="T24" fmla="*/ 110 w 278"/>
              <a:gd name="T25" fmla="*/ 6 h 549"/>
              <a:gd name="T26" fmla="*/ 154 w 278"/>
              <a:gd name="T27" fmla="*/ 54 h 549"/>
              <a:gd name="T28" fmla="*/ 147 w 278"/>
              <a:gd name="T29" fmla="*/ 77 h 549"/>
              <a:gd name="T30" fmla="*/ 202 w 278"/>
              <a:gd name="T31" fmla="*/ 56 h 549"/>
              <a:gd name="T32" fmla="*/ 216 w 278"/>
              <a:gd name="T33" fmla="*/ 25 h 549"/>
              <a:gd name="T34" fmla="*/ 237 w 278"/>
              <a:gd name="T35" fmla="*/ 35 h 549"/>
              <a:gd name="T36" fmla="*/ 229 w 278"/>
              <a:gd name="T37" fmla="*/ 43 h 549"/>
              <a:gd name="T38" fmla="*/ 211 w 278"/>
              <a:gd name="T39" fmla="*/ 69 h 549"/>
              <a:gd name="T40" fmla="*/ 159 w 278"/>
              <a:gd name="T41" fmla="*/ 106 h 549"/>
              <a:gd name="T42" fmla="*/ 189 w 278"/>
              <a:gd name="T43" fmla="*/ 101 h 549"/>
              <a:gd name="T44" fmla="*/ 240 w 278"/>
              <a:gd name="T45" fmla="*/ 70 h 549"/>
              <a:gd name="T46" fmla="*/ 255 w 278"/>
              <a:gd name="T47" fmla="*/ 42 h 549"/>
              <a:gd name="T48" fmla="*/ 274 w 278"/>
              <a:gd name="T49" fmla="*/ 54 h 549"/>
              <a:gd name="T50" fmla="*/ 255 w 278"/>
              <a:gd name="T51" fmla="*/ 81 h 549"/>
              <a:gd name="T52" fmla="*/ 197 w 278"/>
              <a:gd name="T53" fmla="*/ 132 h 549"/>
              <a:gd name="T54" fmla="*/ 137 w 278"/>
              <a:gd name="T55" fmla="*/ 140 h 549"/>
              <a:gd name="T56" fmla="*/ 130 w 278"/>
              <a:gd name="T57" fmla="*/ 223 h 549"/>
              <a:gd name="T58" fmla="*/ 196 w 278"/>
              <a:gd name="T59" fmla="*/ 184 h 549"/>
              <a:gd name="T60" fmla="*/ 230 w 278"/>
              <a:gd name="T61" fmla="*/ 228 h 549"/>
              <a:gd name="T62" fmla="*/ 202 w 278"/>
              <a:gd name="T63" fmla="*/ 313 h 549"/>
              <a:gd name="T64" fmla="*/ 241 w 278"/>
              <a:gd name="T65" fmla="*/ 322 h 549"/>
              <a:gd name="T66" fmla="*/ 205 w 278"/>
              <a:gd name="T67" fmla="*/ 338 h 549"/>
              <a:gd name="T68" fmla="*/ 163 w 278"/>
              <a:gd name="T69" fmla="*/ 318 h 549"/>
              <a:gd name="T70" fmla="*/ 179 w 278"/>
              <a:gd name="T71" fmla="*/ 264 h 549"/>
              <a:gd name="T72" fmla="*/ 132 w 278"/>
              <a:gd name="T73" fmla="*/ 292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78" h="549">
                <a:moveTo>
                  <a:pt x="132" y="292"/>
                </a:moveTo>
                <a:cubicBezTo>
                  <a:pt x="132" y="292"/>
                  <a:pt x="148" y="326"/>
                  <a:pt x="149" y="352"/>
                </a:cubicBezTo>
                <a:cubicBezTo>
                  <a:pt x="149" y="377"/>
                  <a:pt x="151" y="378"/>
                  <a:pt x="152" y="385"/>
                </a:cubicBezTo>
                <a:cubicBezTo>
                  <a:pt x="153" y="391"/>
                  <a:pt x="152" y="408"/>
                  <a:pt x="143" y="416"/>
                </a:cubicBezTo>
                <a:cubicBezTo>
                  <a:pt x="134" y="423"/>
                  <a:pt x="120" y="427"/>
                  <a:pt x="114" y="432"/>
                </a:cubicBezTo>
                <a:cubicBezTo>
                  <a:pt x="109" y="437"/>
                  <a:pt x="81" y="453"/>
                  <a:pt x="71" y="458"/>
                </a:cubicBezTo>
                <a:cubicBezTo>
                  <a:pt x="61" y="463"/>
                  <a:pt x="40" y="481"/>
                  <a:pt x="38" y="487"/>
                </a:cubicBezTo>
                <a:cubicBezTo>
                  <a:pt x="35" y="492"/>
                  <a:pt x="33" y="493"/>
                  <a:pt x="32" y="502"/>
                </a:cubicBezTo>
                <a:cubicBezTo>
                  <a:pt x="31" y="511"/>
                  <a:pt x="25" y="520"/>
                  <a:pt x="30" y="526"/>
                </a:cubicBezTo>
                <a:cubicBezTo>
                  <a:pt x="34" y="533"/>
                  <a:pt x="30" y="530"/>
                  <a:pt x="28" y="531"/>
                </a:cubicBezTo>
                <a:cubicBezTo>
                  <a:pt x="28" y="531"/>
                  <a:pt x="25" y="549"/>
                  <a:pt x="14" y="530"/>
                </a:cubicBezTo>
                <a:cubicBezTo>
                  <a:pt x="3" y="512"/>
                  <a:pt x="7" y="518"/>
                  <a:pt x="5" y="515"/>
                </a:cubicBezTo>
                <a:cubicBezTo>
                  <a:pt x="3" y="511"/>
                  <a:pt x="4" y="505"/>
                  <a:pt x="5" y="498"/>
                </a:cubicBezTo>
                <a:cubicBezTo>
                  <a:pt x="6" y="490"/>
                  <a:pt x="3" y="477"/>
                  <a:pt x="2" y="474"/>
                </a:cubicBezTo>
                <a:cubicBezTo>
                  <a:pt x="0" y="470"/>
                  <a:pt x="2" y="456"/>
                  <a:pt x="19" y="456"/>
                </a:cubicBezTo>
                <a:cubicBezTo>
                  <a:pt x="19" y="456"/>
                  <a:pt x="34" y="455"/>
                  <a:pt x="45" y="440"/>
                </a:cubicBezTo>
                <a:cubicBezTo>
                  <a:pt x="57" y="425"/>
                  <a:pt x="85" y="399"/>
                  <a:pt x="105" y="396"/>
                </a:cubicBezTo>
                <a:cubicBezTo>
                  <a:pt x="105" y="396"/>
                  <a:pt x="109" y="383"/>
                  <a:pt x="105" y="377"/>
                </a:cubicBezTo>
                <a:cubicBezTo>
                  <a:pt x="100" y="372"/>
                  <a:pt x="84" y="322"/>
                  <a:pt x="83" y="311"/>
                </a:cubicBezTo>
                <a:cubicBezTo>
                  <a:pt x="83" y="311"/>
                  <a:pt x="80" y="304"/>
                  <a:pt x="75" y="298"/>
                </a:cubicBezTo>
                <a:cubicBezTo>
                  <a:pt x="70" y="293"/>
                  <a:pt x="50" y="260"/>
                  <a:pt x="65" y="243"/>
                </a:cubicBezTo>
                <a:cubicBezTo>
                  <a:pt x="65" y="243"/>
                  <a:pt x="65" y="202"/>
                  <a:pt x="65" y="191"/>
                </a:cubicBezTo>
                <a:cubicBezTo>
                  <a:pt x="65" y="180"/>
                  <a:pt x="61" y="152"/>
                  <a:pt x="63" y="138"/>
                </a:cubicBezTo>
                <a:cubicBezTo>
                  <a:pt x="64" y="124"/>
                  <a:pt x="67" y="105"/>
                  <a:pt x="75" y="93"/>
                </a:cubicBezTo>
                <a:cubicBezTo>
                  <a:pt x="83" y="82"/>
                  <a:pt x="90" y="75"/>
                  <a:pt x="91" y="65"/>
                </a:cubicBezTo>
                <a:cubicBezTo>
                  <a:pt x="93" y="56"/>
                  <a:pt x="80" y="14"/>
                  <a:pt x="110" y="6"/>
                </a:cubicBezTo>
                <a:cubicBezTo>
                  <a:pt x="110" y="6"/>
                  <a:pt x="163" y="0"/>
                  <a:pt x="156" y="38"/>
                </a:cubicBezTo>
                <a:cubicBezTo>
                  <a:pt x="156" y="38"/>
                  <a:pt x="157" y="51"/>
                  <a:pt x="154" y="54"/>
                </a:cubicBezTo>
                <a:cubicBezTo>
                  <a:pt x="154" y="54"/>
                  <a:pt x="163" y="71"/>
                  <a:pt x="150" y="72"/>
                </a:cubicBezTo>
                <a:cubicBezTo>
                  <a:pt x="147" y="77"/>
                  <a:pt x="147" y="77"/>
                  <a:pt x="147" y="77"/>
                </a:cubicBezTo>
                <a:cubicBezTo>
                  <a:pt x="147" y="77"/>
                  <a:pt x="160" y="72"/>
                  <a:pt x="168" y="69"/>
                </a:cubicBezTo>
                <a:cubicBezTo>
                  <a:pt x="175" y="66"/>
                  <a:pt x="198" y="60"/>
                  <a:pt x="202" y="56"/>
                </a:cubicBezTo>
                <a:cubicBezTo>
                  <a:pt x="206" y="52"/>
                  <a:pt x="205" y="46"/>
                  <a:pt x="206" y="41"/>
                </a:cubicBezTo>
                <a:cubicBezTo>
                  <a:pt x="207" y="37"/>
                  <a:pt x="213" y="28"/>
                  <a:pt x="216" y="25"/>
                </a:cubicBezTo>
                <a:cubicBezTo>
                  <a:pt x="216" y="25"/>
                  <a:pt x="245" y="19"/>
                  <a:pt x="234" y="29"/>
                </a:cubicBezTo>
                <a:cubicBezTo>
                  <a:pt x="237" y="35"/>
                  <a:pt x="237" y="35"/>
                  <a:pt x="237" y="35"/>
                </a:cubicBezTo>
                <a:cubicBezTo>
                  <a:pt x="236" y="44"/>
                  <a:pt x="236" y="44"/>
                  <a:pt x="236" y="44"/>
                </a:cubicBezTo>
                <a:cubicBezTo>
                  <a:pt x="236" y="44"/>
                  <a:pt x="229" y="53"/>
                  <a:pt x="229" y="43"/>
                </a:cubicBezTo>
                <a:cubicBezTo>
                  <a:pt x="229" y="43"/>
                  <a:pt x="224" y="47"/>
                  <a:pt x="224" y="52"/>
                </a:cubicBezTo>
                <a:cubicBezTo>
                  <a:pt x="224" y="56"/>
                  <a:pt x="217" y="67"/>
                  <a:pt x="211" y="69"/>
                </a:cubicBezTo>
                <a:cubicBezTo>
                  <a:pt x="211" y="69"/>
                  <a:pt x="198" y="77"/>
                  <a:pt x="192" y="81"/>
                </a:cubicBezTo>
                <a:cubicBezTo>
                  <a:pt x="186" y="85"/>
                  <a:pt x="164" y="105"/>
                  <a:pt x="159" y="106"/>
                </a:cubicBezTo>
                <a:cubicBezTo>
                  <a:pt x="159" y="106"/>
                  <a:pt x="171" y="110"/>
                  <a:pt x="174" y="108"/>
                </a:cubicBezTo>
                <a:cubicBezTo>
                  <a:pt x="178" y="106"/>
                  <a:pt x="185" y="104"/>
                  <a:pt x="189" y="101"/>
                </a:cubicBezTo>
                <a:cubicBezTo>
                  <a:pt x="194" y="99"/>
                  <a:pt x="219" y="86"/>
                  <a:pt x="224" y="82"/>
                </a:cubicBezTo>
                <a:cubicBezTo>
                  <a:pt x="230" y="77"/>
                  <a:pt x="240" y="73"/>
                  <a:pt x="240" y="70"/>
                </a:cubicBezTo>
                <a:cubicBezTo>
                  <a:pt x="241" y="66"/>
                  <a:pt x="243" y="51"/>
                  <a:pt x="243" y="51"/>
                </a:cubicBezTo>
                <a:cubicBezTo>
                  <a:pt x="243" y="51"/>
                  <a:pt x="251" y="43"/>
                  <a:pt x="255" y="42"/>
                </a:cubicBezTo>
                <a:cubicBezTo>
                  <a:pt x="259" y="41"/>
                  <a:pt x="262" y="42"/>
                  <a:pt x="267" y="45"/>
                </a:cubicBezTo>
                <a:cubicBezTo>
                  <a:pt x="272" y="49"/>
                  <a:pt x="276" y="52"/>
                  <a:pt x="274" y="54"/>
                </a:cubicBezTo>
                <a:cubicBezTo>
                  <a:pt x="273" y="56"/>
                  <a:pt x="278" y="59"/>
                  <a:pt x="271" y="65"/>
                </a:cubicBezTo>
                <a:cubicBezTo>
                  <a:pt x="265" y="72"/>
                  <a:pt x="257" y="80"/>
                  <a:pt x="255" y="81"/>
                </a:cubicBezTo>
                <a:cubicBezTo>
                  <a:pt x="253" y="82"/>
                  <a:pt x="231" y="105"/>
                  <a:pt x="225" y="111"/>
                </a:cubicBezTo>
                <a:cubicBezTo>
                  <a:pt x="219" y="118"/>
                  <a:pt x="201" y="131"/>
                  <a:pt x="197" y="132"/>
                </a:cubicBezTo>
                <a:cubicBezTo>
                  <a:pt x="193" y="134"/>
                  <a:pt x="196" y="137"/>
                  <a:pt x="188" y="137"/>
                </a:cubicBezTo>
                <a:cubicBezTo>
                  <a:pt x="180" y="137"/>
                  <a:pt x="142" y="141"/>
                  <a:pt x="137" y="140"/>
                </a:cubicBezTo>
                <a:cubicBezTo>
                  <a:pt x="137" y="140"/>
                  <a:pt x="136" y="177"/>
                  <a:pt x="132" y="195"/>
                </a:cubicBezTo>
                <a:cubicBezTo>
                  <a:pt x="130" y="223"/>
                  <a:pt x="130" y="223"/>
                  <a:pt x="130" y="223"/>
                </a:cubicBezTo>
                <a:cubicBezTo>
                  <a:pt x="130" y="223"/>
                  <a:pt x="153" y="205"/>
                  <a:pt x="165" y="198"/>
                </a:cubicBezTo>
                <a:cubicBezTo>
                  <a:pt x="177" y="191"/>
                  <a:pt x="190" y="186"/>
                  <a:pt x="196" y="184"/>
                </a:cubicBezTo>
                <a:cubicBezTo>
                  <a:pt x="201" y="181"/>
                  <a:pt x="227" y="169"/>
                  <a:pt x="235" y="196"/>
                </a:cubicBezTo>
                <a:cubicBezTo>
                  <a:pt x="235" y="196"/>
                  <a:pt x="236" y="214"/>
                  <a:pt x="230" y="228"/>
                </a:cubicBezTo>
                <a:cubicBezTo>
                  <a:pt x="223" y="243"/>
                  <a:pt x="212" y="263"/>
                  <a:pt x="208" y="274"/>
                </a:cubicBezTo>
                <a:cubicBezTo>
                  <a:pt x="203" y="285"/>
                  <a:pt x="198" y="311"/>
                  <a:pt x="202" y="313"/>
                </a:cubicBezTo>
                <a:cubicBezTo>
                  <a:pt x="207" y="316"/>
                  <a:pt x="217" y="323"/>
                  <a:pt x="222" y="322"/>
                </a:cubicBezTo>
                <a:cubicBezTo>
                  <a:pt x="226" y="321"/>
                  <a:pt x="241" y="314"/>
                  <a:pt x="241" y="322"/>
                </a:cubicBezTo>
                <a:cubicBezTo>
                  <a:pt x="241" y="322"/>
                  <a:pt x="237" y="330"/>
                  <a:pt x="233" y="331"/>
                </a:cubicBezTo>
                <a:cubicBezTo>
                  <a:pt x="233" y="331"/>
                  <a:pt x="214" y="341"/>
                  <a:pt x="205" y="338"/>
                </a:cubicBezTo>
                <a:cubicBezTo>
                  <a:pt x="196" y="336"/>
                  <a:pt x="188" y="337"/>
                  <a:pt x="181" y="338"/>
                </a:cubicBezTo>
                <a:cubicBezTo>
                  <a:pt x="173" y="339"/>
                  <a:pt x="155" y="335"/>
                  <a:pt x="163" y="318"/>
                </a:cubicBezTo>
                <a:cubicBezTo>
                  <a:pt x="171" y="302"/>
                  <a:pt x="170" y="299"/>
                  <a:pt x="171" y="295"/>
                </a:cubicBezTo>
                <a:cubicBezTo>
                  <a:pt x="172" y="292"/>
                  <a:pt x="179" y="267"/>
                  <a:pt x="179" y="264"/>
                </a:cubicBezTo>
                <a:cubicBezTo>
                  <a:pt x="179" y="261"/>
                  <a:pt x="178" y="246"/>
                  <a:pt x="181" y="242"/>
                </a:cubicBezTo>
                <a:cubicBezTo>
                  <a:pt x="181" y="242"/>
                  <a:pt x="143" y="291"/>
                  <a:pt x="132" y="292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4142142" y="1884650"/>
            <a:ext cx="3663299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sz="1100">
                <a:latin typeface="华文楷体"/>
                <a:ea typeface="华文楷体"/>
              </a:rPr>
              <a:t>选取规则清晰度高、流程重复性高的资金流水下载、流水导入、回单查询、付款对账作为</a:t>
            </a:r>
            <a:r>
              <a:rPr lang="en-US" altLang="zh-CN" sz="1100">
                <a:latin typeface="华文楷体"/>
                <a:ea typeface="华文楷体"/>
              </a:rPr>
              <a:t>RPA</a:t>
            </a:r>
            <a:r>
              <a:rPr lang="zh-CN" altLang="en-US" sz="1100">
                <a:latin typeface="华文楷体"/>
                <a:ea typeface="华文楷体"/>
              </a:rPr>
              <a:t>初次尝试范围，成功减轻员工压力，零差错、高效进行业务处理</a:t>
            </a:r>
            <a:endParaRPr lang="en-US" altLang="zh-CN" sz="1100" dirty="0">
              <a:latin typeface="华文楷体"/>
              <a:ea typeface="华文楷体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8306274" y="3026567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挑战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9" name="矩形 88"/>
          <p:cNvSpPr/>
          <p:nvPr/>
        </p:nvSpPr>
        <p:spPr>
          <a:xfrm>
            <a:off x="7834514" y="2715318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smtClean="0">
                <a:latin typeface="Arial"/>
                <a:ea typeface="华文楷体"/>
              </a:rPr>
              <a:t>2019</a:t>
            </a:r>
            <a:r>
              <a:rPr lang="zh-CN" altLang="en-US" sz="1400" b="1" smtClean="0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90" name="îşlïḍè"/>
          <p:cNvSpPr/>
          <p:nvPr/>
        </p:nvSpPr>
        <p:spPr bwMode="auto">
          <a:xfrm rot="21022361">
            <a:off x="8836874" y="2605538"/>
            <a:ext cx="387804" cy="511281"/>
          </a:xfrm>
          <a:custGeom>
            <a:avLst/>
            <a:gdLst>
              <a:gd name="T0" fmla="*/ 267 w 280"/>
              <a:gd name="T1" fmla="*/ 160 h 386"/>
              <a:gd name="T2" fmla="*/ 250 w 280"/>
              <a:gd name="T3" fmla="*/ 162 h 386"/>
              <a:gd name="T4" fmla="*/ 231 w 280"/>
              <a:gd name="T5" fmla="*/ 164 h 386"/>
              <a:gd name="T6" fmla="*/ 204 w 280"/>
              <a:gd name="T7" fmla="*/ 153 h 386"/>
              <a:gd name="T8" fmla="*/ 225 w 280"/>
              <a:gd name="T9" fmla="*/ 151 h 386"/>
              <a:gd name="T10" fmla="*/ 237 w 280"/>
              <a:gd name="T11" fmla="*/ 142 h 386"/>
              <a:gd name="T12" fmla="*/ 250 w 280"/>
              <a:gd name="T13" fmla="*/ 143 h 386"/>
              <a:gd name="T14" fmla="*/ 256 w 280"/>
              <a:gd name="T15" fmla="*/ 133 h 386"/>
              <a:gd name="T16" fmla="*/ 251 w 280"/>
              <a:gd name="T17" fmla="*/ 123 h 386"/>
              <a:gd name="T18" fmla="*/ 244 w 280"/>
              <a:gd name="T19" fmla="*/ 113 h 386"/>
              <a:gd name="T20" fmla="*/ 233 w 280"/>
              <a:gd name="T21" fmla="*/ 116 h 386"/>
              <a:gd name="T22" fmla="*/ 214 w 280"/>
              <a:gd name="T23" fmla="*/ 133 h 386"/>
              <a:gd name="T24" fmla="*/ 191 w 280"/>
              <a:gd name="T25" fmla="*/ 134 h 386"/>
              <a:gd name="T26" fmla="*/ 145 w 280"/>
              <a:gd name="T27" fmla="*/ 132 h 386"/>
              <a:gd name="T28" fmla="*/ 134 w 280"/>
              <a:gd name="T29" fmla="*/ 125 h 386"/>
              <a:gd name="T30" fmla="*/ 112 w 280"/>
              <a:gd name="T31" fmla="*/ 101 h 386"/>
              <a:gd name="T32" fmla="*/ 114 w 280"/>
              <a:gd name="T33" fmla="*/ 88 h 386"/>
              <a:gd name="T34" fmla="*/ 140 w 280"/>
              <a:gd name="T35" fmla="*/ 72 h 386"/>
              <a:gd name="T36" fmla="*/ 145 w 280"/>
              <a:gd name="T37" fmla="*/ 56 h 386"/>
              <a:gd name="T38" fmla="*/ 150 w 280"/>
              <a:gd name="T39" fmla="*/ 39 h 386"/>
              <a:gd name="T40" fmla="*/ 106 w 280"/>
              <a:gd name="T41" fmla="*/ 5 h 386"/>
              <a:gd name="T42" fmla="*/ 84 w 280"/>
              <a:gd name="T43" fmla="*/ 55 h 386"/>
              <a:gd name="T44" fmla="*/ 75 w 280"/>
              <a:gd name="T45" fmla="*/ 74 h 386"/>
              <a:gd name="T46" fmla="*/ 57 w 280"/>
              <a:gd name="T47" fmla="*/ 94 h 386"/>
              <a:gd name="T48" fmla="*/ 6 w 280"/>
              <a:gd name="T49" fmla="*/ 238 h 386"/>
              <a:gd name="T50" fmla="*/ 82 w 280"/>
              <a:gd name="T51" fmla="*/ 284 h 386"/>
              <a:gd name="T52" fmla="*/ 109 w 280"/>
              <a:gd name="T53" fmla="*/ 277 h 386"/>
              <a:gd name="T54" fmla="*/ 77 w 280"/>
              <a:gd name="T55" fmla="*/ 308 h 386"/>
              <a:gd name="T56" fmla="*/ 58 w 280"/>
              <a:gd name="T57" fmla="*/ 325 h 386"/>
              <a:gd name="T58" fmla="*/ 52 w 280"/>
              <a:gd name="T59" fmla="*/ 343 h 386"/>
              <a:gd name="T60" fmla="*/ 66 w 280"/>
              <a:gd name="T61" fmla="*/ 359 h 386"/>
              <a:gd name="T62" fmla="*/ 84 w 280"/>
              <a:gd name="T63" fmla="*/ 377 h 386"/>
              <a:gd name="T64" fmla="*/ 97 w 280"/>
              <a:gd name="T65" fmla="*/ 383 h 386"/>
              <a:gd name="T66" fmla="*/ 107 w 280"/>
              <a:gd name="T67" fmla="*/ 385 h 386"/>
              <a:gd name="T68" fmla="*/ 106 w 280"/>
              <a:gd name="T69" fmla="*/ 370 h 386"/>
              <a:gd name="T70" fmla="*/ 91 w 280"/>
              <a:gd name="T71" fmla="*/ 340 h 386"/>
              <a:gd name="T72" fmla="*/ 119 w 280"/>
              <a:gd name="T73" fmla="*/ 313 h 386"/>
              <a:gd name="T74" fmla="*/ 137 w 280"/>
              <a:gd name="T75" fmla="*/ 317 h 386"/>
              <a:gd name="T76" fmla="*/ 161 w 280"/>
              <a:gd name="T77" fmla="*/ 312 h 386"/>
              <a:gd name="T78" fmla="*/ 182 w 280"/>
              <a:gd name="T79" fmla="*/ 305 h 386"/>
              <a:gd name="T80" fmla="*/ 194 w 280"/>
              <a:gd name="T81" fmla="*/ 295 h 386"/>
              <a:gd name="T82" fmla="*/ 175 w 280"/>
              <a:gd name="T83" fmla="*/ 293 h 386"/>
              <a:gd name="T84" fmla="*/ 156 w 280"/>
              <a:gd name="T85" fmla="*/ 289 h 386"/>
              <a:gd name="T86" fmla="*/ 160 w 280"/>
              <a:gd name="T87" fmla="*/ 234 h 386"/>
              <a:gd name="T88" fmla="*/ 175 w 280"/>
              <a:gd name="T89" fmla="*/ 178 h 386"/>
              <a:gd name="T90" fmla="*/ 192 w 280"/>
              <a:gd name="T91" fmla="*/ 179 h 386"/>
              <a:gd name="T92" fmla="*/ 221 w 280"/>
              <a:gd name="T93" fmla="*/ 179 h 386"/>
              <a:gd name="T94" fmla="*/ 238 w 280"/>
              <a:gd name="T95" fmla="*/ 181 h 386"/>
              <a:gd name="T96" fmla="*/ 252 w 280"/>
              <a:gd name="T97" fmla="*/ 183 h 386"/>
              <a:gd name="T98" fmla="*/ 259 w 280"/>
              <a:gd name="T99" fmla="*/ 189 h 386"/>
              <a:gd name="T100" fmla="*/ 273 w 280"/>
              <a:gd name="T101" fmla="*/ 186 h 386"/>
              <a:gd name="T102" fmla="*/ 280 w 280"/>
              <a:gd name="T103" fmla="*/ 174 h 386"/>
              <a:gd name="T104" fmla="*/ 267 w 280"/>
              <a:gd name="T105" fmla="*/ 160 h 386"/>
              <a:gd name="T106" fmla="*/ 118 w 280"/>
              <a:gd name="T107" fmla="*/ 230 h 386"/>
              <a:gd name="T108" fmla="*/ 127 w 280"/>
              <a:gd name="T109" fmla="*/ 214 h 386"/>
              <a:gd name="T110" fmla="*/ 128 w 280"/>
              <a:gd name="T111" fmla="*/ 229 h 386"/>
              <a:gd name="T112" fmla="*/ 118 w 280"/>
              <a:gd name="T113" fmla="*/ 230 h 386"/>
              <a:gd name="T114" fmla="*/ 99 w 280"/>
              <a:gd name="T115" fmla="*/ 181 h 386"/>
              <a:gd name="T116" fmla="*/ 113 w 280"/>
              <a:gd name="T117" fmla="*/ 159 h 386"/>
              <a:gd name="T118" fmla="*/ 131 w 280"/>
              <a:gd name="T119" fmla="*/ 159 h 386"/>
              <a:gd name="T120" fmla="*/ 99 w 280"/>
              <a:gd name="T121" fmla="*/ 18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" h="386">
                <a:moveTo>
                  <a:pt x="267" y="160"/>
                </a:moveTo>
                <a:cubicBezTo>
                  <a:pt x="263" y="153"/>
                  <a:pt x="254" y="161"/>
                  <a:pt x="250" y="162"/>
                </a:cubicBezTo>
                <a:cubicBezTo>
                  <a:pt x="246" y="163"/>
                  <a:pt x="237" y="164"/>
                  <a:pt x="231" y="164"/>
                </a:cubicBezTo>
                <a:cubicBezTo>
                  <a:pt x="225" y="164"/>
                  <a:pt x="204" y="153"/>
                  <a:pt x="204" y="153"/>
                </a:cubicBezTo>
                <a:cubicBezTo>
                  <a:pt x="204" y="153"/>
                  <a:pt x="219" y="151"/>
                  <a:pt x="225" y="151"/>
                </a:cubicBezTo>
                <a:cubicBezTo>
                  <a:pt x="231" y="151"/>
                  <a:pt x="237" y="142"/>
                  <a:pt x="237" y="142"/>
                </a:cubicBezTo>
                <a:cubicBezTo>
                  <a:pt x="240" y="146"/>
                  <a:pt x="250" y="143"/>
                  <a:pt x="250" y="143"/>
                </a:cubicBezTo>
                <a:cubicBezTo>
                  <a:pt x="250" y="143"/>
                  <a:pt x="253" y="138"/>
                  <a:pt x="256" y="133"/>
                </a:cubicBezTo>
                <a:cubicBezTo>
                  <a:pt x="259" y="129"/>
                  <a:pt x="251" y="123"/>
                  <a:pt x="251" y="123"/>
                </a:cubicBezTo>
                <a:cubicBezTo>
                  <a:pt x="274" y="124"/>
                  <a:pt x="244" y="113"/>
                  <a:pt x="244" y="113"/>
                </a:cubicBezTo>
                <a:cubicBezTo>
                  <a:pt x="244" y="113"/>
                  <a:pt x="240" y="114"/>
                  <a:pt x="233" y="116"/>
                </a:cubicBezTo>
                <a:cubicBezTo>
                  <a:pt x="225" y="117"/>
                  <a:pt x="218" y="131"/>
                  <a:pt x="214" y="133"/>
                </a:cubicBezTo>
                <a:cubicBezTo>
                  <a:pt x="211" y="134"/>
                  <a:pt x="205" y="134"/>
                  <a:pt x="191" y="134"/>
                </a:cubicBezTo>
                <a:cubicBezTo>
                  <a:pt x="177" y="135"/>
                  <a:pt x="147" y="132"/>
                  <a:pt x="145" y="132"/>
                </a:cubicBezTo>
                <a:cubicBezTo>
                  <a:pt x="144" y="132"/>
                  <a:pt x="141" y="133"/>
                  <a:pt x="134" y="125"/>
                </a:cubicBezTo>
                <a:cubicBezTo>
                  <a:pt x="126" y="117"/>
                  <a:pt x="113" y="104"/>
                  <a:pt x="112" y="101"/>
                </a:cubicBezTo>
                <a:cubicBezTo>
                  <a:pt x="110" y="99"/>
                  <a:pt x="114" y="88"/>
                  <a:pt x="114" y="88"/>
                </a:cubicBezTo>
                <a:cubicBezTo>
                  <a:pt x="129" y="93"/>
                  <a:pt x="140" y="72"/>
                  <a:pt x="140" y="72"/>
                </a:cubicBezTo>
                <a:cubicBezTo>
                  <a:pt x="150" y="76"/>
                  <a:pt x="145" y="56"/>
                  <a:pt x="145" y="56"/>
                </a:cubicBezTo>
                <a:cubicBezTo>
                  <a:pt x="150" y="53"/>
                  <a:pt x="150" y="39"/>
                  <a:pt x="150" y="39"/>
                </a:cubicBezTo>
                <a:cubicBezTo>
                  <a:pt x="156" y="0"/>
                  <a:pt x="106" y="5"/>
                  <a:pt x="106" y="5"/>
                </a:cubicBezTo>
                <a:cubicBezTo>
                  <a:pt x="80" y="9"/>
                  <a:pt x="84" y="48"/>
                  <a:pt x="84" y="55"/>
                </a:cubicBezTo>
                <a:cubicBezTo>
                  <a:pt x="83" y="63"/>
                  <a:pt x="77" y="72"/>
                  <a:pt x="75" y="74"/>
                </a:cubicBezTo>
                <a:cubicBezTo>
                  <a:pt x="73" y="75"/>
                  <a:pt x="57" y="94"/>
                  <a:pt x="57" y="94"/>
                </a:cubicBezTo>
                <a:cubicBezTo>
                  <a:pt x="17" y="141"/>
                  <a:pt x="6" y="238"/>
                  <a:pt x="6" y="238"/>
                </a:cubicBezTo>
                <a:cubicBezTo>
                  <a:pt x="0" y="308"/>
                  <a:pt x="73" y="286"/>
                  <a:pt x="82" y="284"/>
                </a:cubicBezTo>
                <a:cubicBezTo>
                  <a:pt x="91" y="281"/>
                  <a:pt x="109" y="277"/>
                  <a:pt x="109" y="277"/>
                </a:cubicBezTo>
                <a:cubicBezTo>
                  <a:pt x="104" y="279"/>
                  <a:pt x="82" y="302"/>
                  <a:pt x="77" y="308"/>
                </a:cubicBezTo>
                <a:cubicBezTo>
                  <a:pt x="73" y="314"/>
                  <a:pt x="69" y="319"/>
                  <a:pt x="58" y="325"/>
                </a:cubicBezTo>
                <a:cubicBezTo>
                  <a:pt x="47" y="331"/>
                  <a:pt x="48" y="337"/>
                  <a:pt x="52" y="343"/>
                </a:cubicBezTo>
                <a:cubicBezTo>
                  <a:pt x="56" y="349"/>
                  <a:pt x="64" y="352"/>
                  <a:pt x="66" y="359"/>
                </a:cubicBezTo>
                <a:cubicBezTo>
                  <a:pt x="66" y="359"/>
                  <a:pt x="79" y="375"/>
                  <a:pt x="84" y="377"/>
                </a:cubicBezTo>
                <a:cubicBezTo>
                  <a:pt x="89" y="379"/>
                  <a:pt x="92" y="380"/>
                  <a:pt x="97" y="383"/>
                </a:cubicBezTo>
                <a:cubicBezTo>
                  <a:pt x="101" y="386"/>
                  <a:pt x="107" y="385"/>
                  <a:pt x="107" y="385"/>
                </a:cubicBezTo>
                <a:cubicBezTo>
                  <a:pt x="120" y="382"/>
                  <a:pt x="106" y="370"/>
                  <a:pt x="106" y="370"/>
                </a:cubicBezTo>
                <a:cubicBezTo>
                  <a:pt x="97" y="364"/>
                  <a:pt x="91" y="340"/>
                  <a:pt x="91" y="340"/>
                </a:cubicBezTo>
                <a:cubicBezTo>
                  <a:pt x="89" y="325"/>
                  <a:pt x="119" y="313"/>
                  <a:pt x="119" y="313"/>
                </a:cubicBezTo>
                <a:cubicBezTo>
                  <a:pt x="114" y="324"/>
                  <a:pt x="133" y="318"/>
                  <a:pt x="137" y="317"/>
                </a:cubicBezTo>
                <a:cubicBezTo>
                  <a:pt x="140" y="316"/>
                  <a:pt x="156" y="312"/>
                  <a:pt x="161" y="312"/>
                </a:cubicBezTo>
                <a:cubicBezTo>
                  <a:pt x="167" y="311"/>
                  <a:pt x="178" y="307"/>
                  <a:pt x="182" y="305"/>
                </a:cubicBezTo>
                <a:cubicBezTo>
                  <a:pt x="186" y="303"/>
                  <a:pt x="190" y="308"/>
                  <a:pt x="194" y="295"/>
                </a:cubicBezTo>
                <a:cubicBezTo>
                  <a:pt x="199" y="283"/>
                  <a:pt x="180" y="291"/>
                  <a:pt x="175" y="293"/>
                </a:cubicBezTo>
                <a:cubicBezTo>
                  <a:pt x="170" y="296"/>
                  <a:pt x="156" y="289"/>
                  <a:pt x="156" y="289"/>
                </a:cubicBezTo>
                <a:cubicBezTo>
                  <a:pt x="204" y="245"/>
                  <a:pt x="160" y="234"/>
                  <a:pt x="160" y="234"/>
                </a:cubicBezTo>
                <a:cubicBezTo>
                  <a:pt x="171" y="229"/>
                  <a:pt x="175" y="178"/>
                  <a:pt x="175" y="178"/>
                </a:cubicBezTo>
                <a:cubicBezTo>
                  <a:pt x="175" y="178"/>
                  <a:pt x="185" y="179"/>
                  <a:pt x="192" y="179"/>
                </a:cubicBezTo>
                <a:cubicBezTo>
                  <a:pt x="198" y="179"/>
                  <a:pt x="215" y="179"/>
                  <a:pt x="221" y="179"/>
                </a:cubicBezTo>
                <a:cubicBezTo>
                  <a:pt x="227" y="178"/>
                  <a:pt x="234" y="179"/>
                  <a:pt x="238" y="181"/>
                </a:cubicBezTo>
                <a:cubicBezTo>
                  <a:pt x="242" y="183"/>
                  <a:pt x="248" y="184"/>
                  <a:pt x="252" y="183"/>
                </a:cubicBezTo>
                <a:cubicBezTo>
                  <a:pt x="256" y="183"/>
                  <a:pt x="254" y="185"/>
                  <a:pt x="259" y="189"/>
                </a:cubicBezTo>
                <a:cubicBezTo>
                  <a:pt x="264" y="192"/>
                  <a:pt x="269" y="191"/>
                  <a:pt x="273" y="186"/>
                </a:cubicBezTo>
                <a:cubicBezTo>
                  <a:pt x="276" y="182"/>
                  <a:pt x="280" y="174"/>
                  <a:pt x="280" y="174"/>
                </a:cubicBezTo>
                <a:lnTo>
                  <a:pt x="267" y="160"/>
                </a:lnTo>
                <a:close/>
                <a:moveTo>
                  <a:pt x="118" y="230"/>
                </a:moveTo>
                <a:cubicBezTo>
                  <a:pt x="118" y="230"/>
                  <a:pt x="126" y="220"/>
                  <a:pt x="127" y="214"/>
                </a:cubicBezTo>
                <a:cubicBezTo>
                  <a:pt x="128" y="229"/>
                  <a:pt x="128" y="229"/>
                  <a:pt x="128" y="229"/>
                </a:cubicBezTo>
                <a:lnTo>
                  <a:pt x="118" y="230"/>
                </a:lnTo>
                <a:close/>
                <a:moveTo>
                  <a:pt x="99" y="181"/>
                </a:moveTo>
                <a:cubicBezTo>
                  <a:pt x="99" y="175"/>
                  <a:pt x="110" y="157"/>
                  <a:pt x="113" y="159"/>
                </a:cubicBezTo>
                <a:cubicBezTo>
                  <a:pt x="116" y="160"/>
                  <a:pt x="131" y="159"/>
                  <a:pt x="131" y="159"/>
                </a:cubicBezTo>
                <a:cubicBezTo>
                  <a:pt x="123" y="160"/>
                  <a:pt x="99" y="181"/>
                  <a:pt x="99" y="181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91" name="矩形 90">
            <a:extLst>
              <a:ext uri="{FF2B5EF4-FFF2-40B4-BE49-F238E27FC236}">
                <a16:creationId xmlns:a16="http://schemas.microsoft.com/office/drawing/2014/main" id="{63469727-8265-4A48-99BD-B57F8704F19E}"/>
              </a:ext>
            </a:extLst>
          </p:cNvPr>
          <p:cNvSpPr/>
          <p:nvPr/>
        </p:nvSpPr>
        <p:spPr bwMode="auto">
          <a:xfrm>
            <a:off x="7747684" y="1878779"/>
            <a:ext cx="3163129" cy="477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相较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于资金，估值流程逻辑更为复杂，挑战使用机器人就信托组合进行自动化估值</a:t>
            </a:r>
            <a:endParaRPr kumimoji="0" lang="en-US" altLang="zh-CN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9201438" y="4104814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>
                <a:latin typeface="华文楷体"/>
                <a:ea typeface="华文楷体"/>
              </a:rPr>
              <a:t>突破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8793076" y="3782274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smtClean="0">
                <a:latin typeface="Arial"/>
                <a:ea typeface="华文楷体"/>
              </a:rPr>
              <a:t>2020</a:t>
            </a:r>
            <a:r>
              <a:rPr lang="zh-CN" altLang="en-US" sz="1400" b="1" smtClean="0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94" name="îṧḻïḍé"/>
          <p:cNvSpPr/>
          <p:nvPr/>
        </p:nvSpPr>
        <p:spPr bwMode="auto">
          <a:xfrm rot="21077083">
            <a:off x="9798966" y="3685453"/>
            <a:ext cx="385873" cy="494509"/>
          </a:xfrm>
          <a:custGeom>
            <a:avLst/>
            <a:gdLst>
              <a:gd name="T0" fmla="*/ 149 w 279"/>
              <a:gd name="T1" fmla="*/ 338 h 370"/>
              <a:gd name="T2" fmla="*/ 140 w 279"/>
              <a:gd name="T3" fmla="*/ 315 h 370"/>
              <a:gd name="T4" fmla="*/ 135 w 279"/>
              <a:gd name="T5" fmla="*/ 238 h 370"/>
              <a:gd name="T6" fmla="*/ 24 w 279"/>
              <a:gd name="T7" fmla="*/ 276 h 370"/>
              <a:gd name="T8" fmla="*/ 2 w 279"/>
              <a:gd name="T9" fmla="*/ 239 h 370"/>
              <a:gd name="T10" fmla="*/ 8 w 279"/>
              <a:gd name="T11" fmla="*/ 206 h 370"/>
              <a:gd name="T12" fmla="*/ 23 w 279"/>
              <a:gd name="T13" fmla="*/ 162 h 370"/>
              <a:gd name="T14" fmla="*/ 107 w 279"/>
              <a:gd name="T15" fmla="*/ 61 h 370"/>
              <a:gd name="T16" fmla="*/ 127 w 279"/>
              <a:gd name="T17" fmla="*/ 5 h 370"/>
              <a:gd name="T18" fmla="*/ 173 w 279"/>
              <a:gd name="T19" fmla="*/ 40 h 370"/>
              <a:gd name="T20" fmla="*/ 169 w 279"/>
              <a:gd name="T21" fmla="*/ 57 h 370"/>
              <a:gd name="T22" fmla="*/ 163 w 279"/>
              <a:gd name="T23" fmla="*/ 75 h 370"/>
              <a:gd name="T24" fmla="*/ 135 w 279"/>
              <a:gd name="T25" fmla="*/ 89 h 370"/>
              <a:gd name="T26" fmla="*/ 133 w 279"/>
              <a:gd name="T27" fmla="*/ 93 h 370"/>
              <a:gd name="T28" fmla="*/ 145 w 279"/>
              <a:gd name="T29" fmla="*/ 107 h 370"/>
              <a:gd name="T30" fmla="*/ 161 w 279"/>
              <a:gd name="T31" fmla="*/ 110 h 370"/>
              <a:gd name="T32" fmla="*/ 210 w 279"/>
              <a:gd name="T33" fmla="*/ 113 h 370"/>
              <a:gd name="T34" fmla="*/ 233 w 279"/>
              <a:gd name="T35" fmla="*/ 108 h 370"/>
              <a:gd name="T36" fmla="*/ 248 w 279"/>
              <a:gd name="T37" fmla="*/ 93 h 370"/>
              <a:gd name="T38" fmla="*/ 261 w 279"/>
              <a:gd name="T39" fmla="*/ 91 h 370"/>
              <a:gd name="T40" fmla="*/ 268 w 279"/>
              <a:gd name="T41" fmla="*/ 102 h 370"/>
              <a:gd name="T42" fmla="*/ 268 w 279"/>
              <a:gd name="T43" fmla="*/ 115 h 370"/>
              <a:gd name="T44" fmla="*/ 256 w 279"/>
              <a:gd name="T45" fmla="*/ 122 h 370"/>
              <a:gd name="T46" fmla="*/ 254 w 279"/>
              <a:gd name="T47" fmla="*/ 117 h 370"/>
              <a:gd name="T48" fmla="*/ 239 w 279"/>
              <a:gd name="T49" fmla="*/ 127 h 370"/>
              <a:gd name="T50" fmla="*/ 203 w 279"/>
              <a:gd name="T51" fmla="*/ 135 h 370"/>
              <a:gd name="T52" fmla="*/ 224 w 279"/>
              <a:gd name="T53" fmla="*/ 137 h 370"/>
              <a:gd name="T54" fmla="*/ 243 w 279"/>
              <a:gd name="T55" fmla="*/ 138 h 370"/>
              <a:gd name="T56" fmla="*/ 254 w 279"/>
              <a:gd name="T57" fmla="*/ 147 h 370"/>
              <a:gd name="T58" fmla="*/ 253 w 279"/>
              <a:gd name="T59" fmla="*/ 155 h 370"/>
              <a:gd name="T60" fmla="*/ 241 w 279"/>
              <a:gd name="T61" fmla="*/ 168 h 370"/>
              <a:gd name="T62" fmla="*/ 227 w 279"/>
              <a:gd name="T63" fmla="*/ 162 h 370"/>
              <a:gd name="T64" fmla="*/ 214 w 279"/>
              <a:gd name="T65" fmla="*/ 159 h 370"/>
              <a:gd name="T66" fmla="*/ 195 w 279"/>
              <a:gd name="T67" fmla="*/ 157 h 370"/>
              <a:gd name="T68" fmla="*/ 157 w 279"/>
              <a:gd name="T69" fmla="*/ 156 h 370"/>
              <a:gd name="T70" fmla="*/ 147 w 279"/>
              <a:gd name="T71" fmla="*/ 150 h 370"/>
              <a:gd name="T72" fmla="*/ 126 w 279"/>
              <a:gd name="T73" fmla="*/ 143 h 370"/>
              <a:gd name="T74" fmla="*/ 98 w 279"/>
              <a:gd name="T75" fmla="*/ 190 h 370"/>
              <a:gd name="T76" fmla="*/ 159 w 279"/>
              <a:gd name="T77" fmla="*/ 173 h 370"/>
              <a:gd name="T78" fmla="*/ 177 w 279"/>
              <a:gd name="T79" fmla="*/ 189 h 370"/>
              <a:gd name="T80" fmla="*/ 192 w 279"/>
              <a:gd name="T81" fmla="*/ 208 h 370"/>
              <a:gd name="T82" fmla="*/ 181 w 279"/>
              <a:gd name="T83" fmla="*/ 285 h 370"/>
              <a:gd name="T84" fmla="*/ 185 w 279"/>
              <a:gd name="T85" fmla="*/ 305 h 370"/>
              <a:gd name="T86" fmla="*/ 203 w 279"/>
              <a:gd name="T87" fmla="*/ 308 h 370"/>
              <a:gd name="T88" fmla="*/ 218 w 279"/>
              <a:gd name="T89" fmla="*/ 313 h 370"/>
              <a:gd name="T90" fmla="*/ 200 w 279"/>
              <a:gd name="T91" fmla="*/ 328 h 370"/>
              <a:gd name="T92" fmla="*/ 214 w 279"/>
              <a:gd name="T93" fmla="*/ 325 h 370"/>
              <a:gd name="T94" fmla="*/ 223 w 279"/>
              <a:gd name="T95" fmla="*/ 330 h 370"/>
              <a:gd name="T96" fmla="*/ 216 w 279"/>
              <a:gd name="T97" fmla="*/ 343 h 370"/>
              <a:gd name="T98" fmla="*/ 197 w 279"/>
              <a:gd name="T99" fmla="*/ 348 h 370"/>
              <a:gd name="T100" fmla="*/ 176 w 279"/>
              <a:gd name="T101" fmla="*/ 353 h 370"/>
              <a:gd name="T102" fmla="*/ 149 w 279"/>
              <a:gd name="T103" fmla="*/ 33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9" h="370">
                <a:moveTo>
                  <a:pt x="149" y="338"/>
                </a:moveTo>
                <a:cubicBezTo>
                  <a:pt x="149" y="338"/>
                  <a:pt x="133" y="330"/>
                  <a:pt x="140" y="315"/>
                </a:cubicBezTo>
                <a:cubicBezTo>
                  <a:pt x="140" y="315"/>
                  <a:pt x="139" y="245"/>
                  <a:pt x="135" y="238"/>
                </a:cubicBezTo>
                <a:cubicBezTo>
                  <a:pt x="135" y="238"/>
                  <a:pt x="74" y="285"/>
                  <a:pt x="24" y="276"/>
                </a:cubicBezTo>
                <a:cubicBezTo>
                  <a:pt x="24" y="276"/>
                  <a:pt x="0" y="264"/>
                  <a:pt x="2" y="239"/>
                </a:cubicBezTo>
                <a:cubicBezTo>
                  <a:pt x="4" y="213"/>
                  <a:pt x="5" y="217"/>
                  <a:pt x="8" y="206"/>
                </a:cubicBezTo>
                <a:cubicBezTo>
                  <a:pt x="12" y="195"/>
                  <a:pt x="10" y="179"/>
                  <a:pt x="23" y="162"/>
                </a:cubicBezTo>
                <a:cubicBezTo>
                  <a:pt x="36" y="145"/>
                  <a:pt x="77" y="81"/>
                  <a:pt x="107" y="61"/>
                </a:cubicBezTo>
                <a:cubicBezTo>
                  <a:pt x="107" y="61"/>
                  <a:pt x="105" y="10"/>
                  <a:pt x="127" y="5"/>
                </a:cubicBezTo>
                <a:cubicBezTo>
                  <a:pt x="127" y="5"/>
                  <a:pt x="184" y="0"/>
                  <a:pt x="173" y="40"/>
                </a:cubicBezTo>
                <a:cubicBezTo>
                  <a:pt x="173" y="40"/>
                  <a:pt x="174" y="55"/>
                  <a:pt x="169" y="57"/>
                </a:cubicBezTo>
                <a:cubicBezTo>
                  <a:pt x="169" y="57"/>
                  <a:pt x="176" y="77"/>
                  <a:pt x="163" y="75"/>
                </a:cubicBezTo>
                <a:cubicBezTo>
                  <a:pt x="163" y="75"/>
                  <a:pt x="149" y="94"/>
                  <a:pt x="135" y="89"/>
                </a:cubicBezTo>
                <a:cubicBezTo>
                  <a:pt x="133" y="93"/>
                  <a:pt x="133" y="93"/>
                  <a:pt x="133" y="93"/>
                </a:cubicBezTo>
                <a:cubicBezTo>
                  <a:pt x="133" y="93"/>
                  <a:pt x="142" y="99"/>
                  <a:pt x="145" y="107"/>
                </a:cubicBezTo>
                <a:cubicBezTo>
                  <a:pt x="145" y="107"/>
                  <a:pt x="152" y="112"/>
                  <a:pt x="161" y="110"/>
                </a:cubicBezTo>
                <a:cubicBezTo>
                  <a:pt x="170" y="109"/>
                  <a:pt x="202" y="112"/>
                  <a:pt x="210" y="113"/>
                </a:cubicBezTo>
                <a:cubicBezTo>
                  <a:pt x="219" y="113"/>
                  <a:pt x="229" y="114"/>
                  <a:pt x="233" y="108"/>
                </a:cubicBezTo>
                <a:cubicBezTo>
                  <a:pt x="237" y="103"/>
                  <a:pt x="241" y="95"/>
                  <a:pt x="248" y="93"/>
                </a:cubicBezTo>
                <a:cubicBezTo>
                  <a:pt x="255" y="91"/>
                  <a:pt x="261" y="91"/>
                  <a:pt x="261" y="91"/>
                </a:cubicBezTo>
                <a:cubicBezTo>
                  <a:pt x="261" y="91"/>
                  <a:pt x="279" y="102"/>
                  <a:pt x="268" y="102"/>
                </a:cubicBezTo>
                <a:cubicBezTo>
                  <a:pt x="268" y="102"/>
                  <a:pt x="271" y="111"/>
                  <a:pt x="268" y="115"/>
                </a:cubicBezTo>
                <a:cubicBezTo>
                  <a:pt x="265" y="118"/>
                  <a:pt x="258" y="122"/>
                  <a:pt x="256" y="122"/>
                </a:cubicBezTo>
                <a:cubicBezTo>
                  <a:pt x="254" y="121"/>
                  <a:pt x="254" y="117"/>
                  <a:pt x="254" y="117"/>
                </a:cubicBezTo>
                <a:cubicBezTo>
                  <a:pt x="254" y="117"/>
                  <a:pt x="245" y="126"/>
                  <a:pt x="239" y="127"/>
                </a:cubicBezTo>
                <a:cubicBezTo>
                  <a:pt x="233" y="129"/>
                  <a:pt x="204" y="135"/>
                  <a:pt x="203" y="135"/>
                </a:cubicBezTo>
                <a:cubicBezTo>
                  <a:pt x="203" y="135"/>
                  <a:pt x="205" y="141"/>
                  <a:pt x="224" y="137"/>
                </a:cubicBezTo>
                <a:cubicBezTo>
                  <a:pt x="224" y="137"/>
                  <a:pt x="234" y="130"/>
                  <a:pt x="243" y="138"/>
                </a:cubicBezTo>
                <a:cubicBezTo>
                  <a:pt x="254" y="147"/>
                  <a:pt x="254" y="147"/>
                  <a:pt x="254" y="147"/>
                </a:cubicBezTo>
                <a:cubicBezTo>
                  <a:pt x="254" y="147"/>
                  <a:pt x="254" y="155"/>
                  <a:pt x="253" y="155"/>
                </a:cubicBezTo>
                <a:cubicBezTo>
                  <a:pt x="253" y="155"/>
                  <a:pt x="247" y="167"/>
                  <a:pt x="241" y="168"/>
                </a:cubicBezTo>
                <a:cubicBezTo>
                  <a:pt x="241" y="168"/>
                  <a:pt x="230" y="165"/>
                  <a:pt x="227" y="162"/>
                </a:cubicBezTo>
                <a:cubicBezTo>
                  <a:pt x="227" y="162"/>
                  <a:pt x="217" y="161"/>
                  <a:pt x="214" y="159"/>
                </a:cubicBezTo>
                <a:cubicBezTo>
                  <a:pt x="212" y="156"/>
                  <a:pt x="202" y="157"/>
                  <a:pt x="195" y="157"/>
                </a:cubicBezTo>
                <a:cubicBezTo>
                  <a:pt x="188" y="157"/>
                  <a:pt x="161" y="158"/>
                  <a:pt x="157" y="156"/>
                </a:cubicBezTo>
                <a:cubicBezTo>
                  <a:pt x="152" y="155"/>
                  <a:pt x="147" y="150"/>
                  <a:pt x="147" y="150"/>
                </a:cubicBezTo>
                <a:cubicBezTo>
                  <a:pt x="147" y="150"/>
                  <a:pt x="135" y="153"/>
                  <a:pt x="126" y="143"/>
                </a:cubicBezTo>
                <a:cubicBezTo>
                  <a:pt x="126" y="143"/>
                  <a:pt x="113" y="180"/>
                  <a:pt x="98" y="190"/>
                </a:cubicBezTo>
                <a:cubicBezTo>
                  <a:pt x="98" y="190"/>
                  <a:pt x="143" y="168"/>
                  <a:pt x="159" y="173"/>
                </a:cubicBezTo>
                <a:cubicBezTo>
                  <a:pt x="159" y="173"/>
                  <a:pt x="177" y="182"/>
                  <a:pt x="177" y="189"/>
                </a:cubicBezTo>
                <a:cubicBezTo>
                  <a:pt x="177" y="189"/>
                  <a:pt x="192" y="196"/>
                  <a:pt x="192" y="208"/>
                </a:cubicBezTo>
                <a:cubicBezTo>
                  <a:pt x="192" y="208"/>
                  <a:pt x="187" y="267"/>
                  <a:pt x="181" y="285"/>
                </a:cubicBezTo>
                <a:cubicBezTo>
                  <a:pt x="175" y="304"/>
                  <a:pt x="179" y="304"/>
                  <a:pt x="185" y="305"/>
                </a:cubicBezTo>
                <a:cubicBezTo>
                  <a:pt x="191" y="305"/>
                  <a:pt x="198" y="311"/>
                  <a:pt x="203" y="308"/>
                </a:cubicBezTo>
                <a:cubicBezTo>
                  <a:pt x="208" y="305"/>
                  <a:pt x="222" y="300"/>
                  <a:pt x="218" y="313"/>
                </a:cubicBezTo>
                <a:cubicBezTo>
                  <a:pt x="200" y="328"/>
                  <a:pt x="200" y="328"/>
                  <a:pt x="200" y="328"/>
                </a:cubicBezTo>
                <a:cubicBezTo>
                  <a:pt x="200" y="328"/>
                  <a:pt x="210" y="328"/>
                  <a:pt x="214" y="325"/>
                </a:cubicBezTo>
                <a:cubicBezTo>
                  <a:pt x="218" y="322"/>
                  <a:pt x="226" y="321"/>
                  <a:pt x="223" y="330"/>
                </a:cubicBezTo>
                <a:cubicBezTo>
                  <a:pt x="220" y="338"/>
                  <a:pt x="220" y="340"/>
                  <a:pt x="216" y="343"/>
                </a:cubicBezTo>
                <a:cubicBezTo>
                  <a:pt x="212" y="345"/>
                  <a:pt x="203" y="347"/>
                  <a:pt x="197" y="348"/>
                </a:cubicBezTo>
                <a:cubicBezTo>
                  <a:pt x="191" y="348"/>
                  <a:pt x="180" y="350"/>
                  <a:pt x="176" y="353"/>
                </a:cubicBezTo>
                <a:cubicBezTo>
                  <a:pt x="172" y="357"/>
                  <a:pt x="141" y="370"/>
                  <a:pt x="149" y="338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3" name="íṥlîḑê"/>
          <p:cNvSpPr/>
          <p:nvPr/>
        </p:nvSpPr>
        <p:spPr bwMode="auto">
          <a:xfrm>
            <a:off x="558503" y="3388346"/>
            <a:ext cx="109689" cy="295987"/>
          </a:xfrm>
          <a:custGeom>
            <a:avLst/>
            <a:gdLst>
              <a:gd name="T0" fmla="*/ 90 w 213"/>
              <a:gd name="T1" fmla="*/ 374 h 573"/>
              <a:gd name="T2" fmla="*/ 83 w 213"/>
              <a:gd name="T3" fmla="*/ 427 h 573"/>
              <a:gd name="T4" fmla="*/ 55 w 213"/>
              <a:gd name="T5" fmla="*/ 498 h 573"/>
              <a:gd name="T6" fmla="*/ 63 w 213"/>
              <a:gd name="T7" fmla="*/ 550 h 573"/>
              <a:gd name="T8" fmla="*/ 85 w 213"/>
              <a:gd name="T9" fmla="*/ 567 h 573"/>
              <a:gd name="T10" fmla="*/ 14 w 213"/>
              <a:gd name="T11" fmla="*/ 554 h 573"/>
              <a:gd name="T12" fmla="*/ 22 w 213"/>
              <a:gd name="T13" fmla="*/ 496 h 573"/>
              <a:gd name="T14" fmla="*/ 44 w 213"/>
              <a:gd name="T15" fmla="*/ 389 h 573"/>
              <a:gd name="T16" fmla="*/ 36 w 213"/>
              <a:gd name="T17" fmla="*/ 335 h 573"/>
              <a:gd name="T18" fmla="*/ 24 w 213"/>
              <a:gd name="T19" fmla="*/ 251 h 573"/>
              <a:gd name="T20" fmla="*/ 20 w 213"/>
              <a:gd name="T21" fmla="*/ 103 h 573"/>
              <a:gd name="T22" fmla="*/ 31 w 213"/>
              <a:gd name="T23" fmla="*/ 55 h 573"/>
              <a:gd name="T24" fmla="*/ 86 w 213"/>
              <a:gd name="T25" fmla="*/ 29 h 573"/>
              <a:gd name="T26" fmla="*/ 94 w 213"/>
              <a:gd name="T27" fmla="*/ 55 h 573"/>
              <a:gd name="T28" fmla="*/ 94 w 213"/>
              <a:gd name="T29" fmla="*/ 13 h 573"/>
              <a:gd name="T30" fmla="*/ 120 w 213"/>
              <a:gd name="T31" fmla="*/ 13 h 573"/>
              <a:gd name="T32" fmla="*/ 122 w 213"/>
              <a:gd name="T33" fmla="*/ 37 h 573"/>
              <a:gd name="T34" fmla="*/ 91 w 213"/>
              <a:gd name="T35" fmla="*/ 98 h 573"/>
              <a:gd name="T36" fmla="*/ 106 w 213"/>
              <a:gd name="T37" fmla="*/ 104 h 573"/>
              <a:gd name="T38" fmla="*/ 140 w 213"/>
              <a:gd name="T39" fmla="*/ 57 h 573"/>
              <a:gd name="T40" fmla="*/ 141 w 213"/>
              <a:gd name="T41" fmla="*/ 23 h 573"/>
              <a:gd name="T42" fmla="*/ 164 w 213"/>
              <a:gd name="T43" fmla="*/ 41 h 573"/>
              <a:gd name="T44" fmla="*/ 149 w 213"/>
              <a:gd name="T45" fmla="*/ 86 h 573"/>
              <a:gd name="T46" fmla="*/ 114 w 213"/>
              <a:gd name="T47" fmla="*/ 139 h 573"/>
              <a:gd name="T48" fmla="*/ 89 w 213"/>
              <a:gd name="T49" fmla="*/ 166 h 573"/>
              <a:gd name="T50" fmla="*/ 88 w 213"/>
              <a:gd name="T51" fmla="*/ 249 h 573"/>
              <a:gd name="T52" fmla="*/ 196 w 213"/>
              <a:gd name="T53" fmla="*/ 275 h 573"/>
              <a:gd name="T54" fmla="*/ 188 w 213"/>
              <a:gd name="T55" fmla="*/ 341 h 573"/>
              <a:gd name="T56" fmla="*/ 148 w 213"/>
              <a:gd name="T57" fmla="*/ 400 h 573"/>
              <a:gd name="T58" fmla="*/ 166 w 213"/>
              <a:gd name="T59" fmla="*/ 425 h 573"/>
              <a:gd name="T60" fmla="*/ 184 w 213"/>
              <a:gd name="T61" fmla="*/ 434 h 573"/>
              <a:gd name="T62" fmla="*/ 140 w 213"/>
              <a:gd name="T63" fmla="*/ 432 h 573"/>
              <a:gd name="T64" fmla="*/ 110 w 213"/>
              <a:gd name="T65" fmla="*/ 400 h 573"/>
              <a:gd name="T66" fmla="*/ 141 w 213"/>
              <a:gd name="T67" fmla="*/ 351 h 573"/>
              <a:gd name="T68" fmla="*/ 89 w 213"/>
              <a:gd name="T69" fmla="*/ 310 h 5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3" h="573">
                <a:moveTo>
                  <a:pt x="89" y="310"/>
                </a:moveTo>
                <a:cubicBezTo>
                  <a:pt x="89" y="310"/>
                  <a:pt x="95" y="344"/>
                  <a:pt x="90" y="374"/>
                </a:cubicBezTo>
                <a:cubicBezTo>
                  <a:pt x="90" y="374"/>
                  <a:pt x="88" y="395"/>
                  <a:pt x="89" y="402"/>
                </a:cubicBezTo>
                <a:cubicBezTo>
                  <a:pt x="90" y="410"/>
                  <a:pt x="86" y="422"/>
                  <a:pt x="83" y="427"/>
                </a:cubicBezTo>
                <a:cubicBezTo>
                  <a:pt x="80" y="432"/>
                  <a:pt x="75" y="446"/>
                  <a:pt x="75" y="450"/>
                </a:cubicBezTo>
                <a:cubicBezTo>
                  <a:pt x="74" y="453"/>
                  <a:pt x="58" y="492"/>
                  <a:pt x="55" y="498"/>
                </a:cubicBezTo>
                <a:cubicBezTo>
                  <a:pt x="52" y="505"/>
                  <a:pt x="45" y="524"/>
                  <a:pt x="48" y="530"/>
                </a:cubicBezTo>
                <a:cubicBezTo>
                  <a:pt x="50" y="536"/>
                  <a:pt x="58" y="546"/>
                  <a:pt x="63" y="550"/>
                </a:cubicBezTo>
                <a:cubicBezTo>
                  <a:pt x="67" y="555"/>
                  <a:pt x="73" y="560"/>
                  <a:pt x="78" y="560"/>
                </a:cubicBezTo>
                <a:cubicBezTo>
                  <a:pt x="83" y="560"/>
                  <a:pt x="91" y="566"/>
                  <a:pt x="85" y="567"/>
                </a:cubicBezTo>
                <a:cubicBezTo>
                  <a:pt x="80" y="568"/>
                  <a:pt x="49" y="573"/>
                  <a:pt x="42" y="567"/>
                </a:cubicBezTo>
                <a:cubicBezTo>
                  <a:pt x="35" y="561"/>
                  <a:pt x="18" y="557"/>
                  <a:pt x="14" y="554"/>
                </a:cubicBezTo>
                <a:cubicBezTo>
                  <a:pt x="11" y="551"/>
                  <a:pt x="1" y="542"/>
                  <a:pt x="13" y="530"/>
                </a:cubicBezTo>
                <a:cubicBezTo>
                  <a:pt x="13" y="530"/>
                  <a:pt x="19" y="516"/>
                  <a:pt x="22" y="496"/>
                </a:cubicBezTo>
                <a:cubicBezTo>
                  <a:pt x="25" y="476"/>
                  <a:pt x="38" y="425"/>
                  <a:pt x="47" y="417"/>
                </a:cubicBezTo>
                <a:cubicBezTo>
                  <a:pt x="47" y="417"/>
                  <a:pt x="48" y="398"/>
                  <a:pt x="44" y="389"/>
                </a:cubicBezTo>
                <a:cubicBezTo>
                  <a:pt x="42" y="382"/>
                  <a:pt x="38" y="350"/>
                  <a:pt x="37" y="339"/>
                </a:cubicBezTo>
                <a:cubicBezTo>
                  <a:pt x="36" y="336"/>
                  <a:pt x="36" y="335"/>
                  <a:pt x="36" y="335"/>
                </a:cubicBezTo>
                <a:cubicBezTo>
                  <a:pt x="36" y="335"/>
                  <a:pt x="34" y="313"/>
                  <a:pt x="28" y="309"/>
                </a:cubicBezTo>
                <a:cubicBezTo>
                  <a:pt x="22" y="304"/>
                  <a:pt x="0" y="282"/>
                  <a:pt x="24" y="251"/>
                </a:cubicBezTo>
                <a:cubicBezTo>
                  <a:pt x="24" y="251"/>
                  <a:pt x="25" y="228"/>
                  <a:pt x="21" y="209"/>
                </a:cubicBezTo>
                <a:cubicBezTo>
                  <a:pt x="17" y="189"/>
                  <a:pt x="9" y="117"/>
                  <a:pt x="20" y="103"/>
                </a:cubicBezTo>
                <a:cubicBezTo>
                  <a:pt x="30" y="88"/>
                  <a:pt x="32" y="87"/>
                  <a:pt x="33" y="82"/>
                </a:cubicBezTo>
                <a:cubicBezTo>
                  <a:pt x="33" y="76"/>
                  <a:pt x="33" y="63"/>
                  <a:pt x="31" y="55"/>
                </a:cubicBezTo>
                <a:cubicBezTo>
                  <a:pt x="29" y="47"/>
                  <a:pt x="20" y="20"/>
                  <a:pt x="41" y="10"/>
                </a:cubicBezTo>
                <a:cubicBezTo>
                  <a:pt x="62" y="0"/>
                  <a:pt x="86" y="15"/>
                  <a:pt x="86" y="29"/>
                </a:cubicBezTo>
                <a:cubicBezTo>
                  <a:pt x="86" y="29"/>
                  <a:pt x="93" y="41"/>
                  <a:pt x="89" y="47"/>
                </a:cubicBezTo>
                <a:cubicBezTo>
                  <a:pt x="94" y="55"/>
                  <a:pt x="94" y="55"/>
                  <a:pt x="94" y="55"/>
                </a:cubicBezTo>
                <a:cubicBezTo>
                  <a:pt x="94" y="55"/>
                  <a:pt x="103" y="52"/>
                  <a:pt x="102" y="47"/>
                </a:cubicBezTo>
                <a:cubicBezTo>
                  <a:pt x="101" y="42"/>
                  <a:pt x="86" y="21"/>
                  <a:pt x="94" y="13"/>
                </a:cubicBezTo>
                <a:cubicBezTo>
                  <a:pt x="101" y="9"/>
                  <a:pt x="101" y="9"/>
                  <a:pt x="101" y="9"/>
                </a:cubicBezTo>
                <a:cubicBezTo>
                  <a:pt x="101" y="9"/>
                  <a:pt x="117" y="10"/>
                  <a:pt x="120" y="13"/>
                </a:cubicBezTo>
                <a:cubicBezTo>
                  <a:pt x="124" y="17"/>
                  <a:pt x="128" y="26"/>
                  <a:pt x="122" y="27"/>
                </a:cubicBezTo>
                <a:cubicBezTo>
                  <a:pt x="122" y="27"/>
                  <a:pt x="120" y="33"/>
                  <a:pt x="122" y="37"/>
                </a:cubicBezTo>
                <a:cubicBezTo>
                  <a:pt x="123" y="40"/>
                  <a:pt x="116" y="51"/>
                  <a:pt x="116" y="51"/>
                </a:cubicBezTo>
                <a:cubicBezTo>
                  <a:pt x="116" y="51"/>
                  <a:pt x="99" y="95"/>
                  <a:pt x="91" y="98"/>
                </a:cubicBezTo>
                <a:cubicBezTo>
                  <a:pt x="91" y="98"/>
                  <a:pt x="90" y="101"/>
                  <a:pt x="91" y="101"/>
                </a:cubicBezTo>
                <a:cubicBezTo>
                  <a:pt x="93" y="101"/>
                  <a:pt x="106" y="104"/>
                  <a:pt x="106" y="104"/>
                </a:cubicBezTo>
                <a:cubicBezTo>
                  <a:pt x="106" y="104"/>
                  <a:pt x="127" y="80"/>
                  <a:pt x="130" y="76"/>
                </a:cubicBezTo>
                <a:cubicBezTo>
                  <a:pt x="134" y="73"/>
                  <a:pt x="140" y="64"/>
                  <a:pt x="140" y="57"/>
                </a:cubicBezTo>
                <a:cubicBezTo>
                  <a:pt x="139" y="51"/>
                  <a:pt x="132" y="34"/>
                  <a:pt x="133" y="31"/>
                </a:cubicBezTo>
                <a:cubicBezTo>
                  <a:pt x="134" y="28"/>
                  <a:pt x="141" y="23"/>
                  <a:pt x="141" y="23"/>
                </a:cubicBezTo>
                <a:cubicBezTo>
                  <a:pt x="141" y="23"/>
                  <a:pt x="154" y="20"/>
                  <a:pt x="157" y="23"/>
                </a:cubicBezTo>
                <a:cubicBezTo>
                  <a:pt x="160" y="26"/>
                  <a:pt x="165" y="38"/>
                  <a:pt x="164" y="41"/>
                </a:cubicBezTo>
                <a:cubicBezTo>
                  <a:pt x="164" y="44"/>
                  <a:pt x="157" y="58"/>
                  <a:pt x="156" y="60"/>
                </a:cubicBezTo>
                <a:cubicBezTo>
                  <a:pt x="155" y="63"/>
                  <a:pt x="151" y="76"/>
                  <a:pt x="149" y="86"/>
                </a:cubicBezTo>
                <a:cubicBezTo>
                  <a:pt x="146" y="96"/>
                  <a:pt x="137" y="122"/>
                  <a:pt x="131" y="128"/>
                </a:cubicBezTo>
                <a:cubicBezTo>
                  <a:pt x="131" y="128"/>
                  <a:pt x="119" y="141"/>
                  <a:pt x="114" y="139"/>
                </a:cubicBezTo>
                <a:cubicBezTo>
                  <a:pt x="109" y="137"/>
                  <a:pt x="93" y="139"/>
                  <a:pt x="93" y="139"/>
                </a:cubicBezTo>
                <a:cubicBezTo>
                  <a:pt x="93" y="139"/>
                  <a:pt x="90" y="158"/>
                  <a:pt x="89" y="166"/>
                </a:cubicBezTo>
                <a:cubicBezTo>
                  <a:pt x="87" y="173"/>
                  <a:pt x="86" y="202"/>
                  <a:pt x="87" y="216"/>
                </a:cubicBezTo>
                <a:cubicBezTo>
                  <a:pt x="88" y="229"/>
                  <a:pt x="84" y="246"/>
                  <a:pt x="88" y="249"/>
                </a:cubicBezTo>
                <a:cubicBezTo>
                  <a:pt x="92" y="252"/>
                  <a:pt x="105" y="252"/>
                  <a:pt x="111" y="253"/>
                </a:cubicBezTo>
                <a:cubicBezTo>
                  <a:pt x="117" y="254"/>
                  <a:pt x="155" y="253"/>
                  <a:pt x="196" y="275"/>
                </a:cubicBezTo>
                <a:cubicBezTo>
                  <a:pt x="196" y="275"/>
                  <a:pt x="213" y="284"/>
                  <a:pt x="208" y="303"/>
                </a:cubicBezTo>
                <a:cubicBezTo>
                  <a:pt x="203" y="321"/>
                  <a:pt x="195" y="334"/>
                  <a:pt x="188" y="341"/>
                </a:cubicBezTo>
                <a:cubicBezTo>
                  <a:pt x="182" y="348"/>
                  <a:pt x="165" y="367"/>
                  <a:pt x="161" y="374"/>
                </a:cubicBezTo>
                <a:cubicBezTo>
                  <a:pt x="157" y="381"/>
                  <a:pt x="148" y="395"/>
                  <a:pt x="148" y="400"/>
                </a:cubicBezTo>
                <a:cubicBezTo>
                  <a:pt x="147" y="406"/>
                  <a:pt x="151" y="411"/>
                  <a:pt x="154" y="414"/>
                </a:cubicBezTo>
                <a:cubicBezTo>
                  <a:pt x="157" y="417"/>
                  <a:pt x="163" y="424"/>
                  <a:pt x="166" y="425"/>
                </a:cubicBezTo>
                <a:cubicBezTo>
                  <a:pt x="170" y="426"/>
                  <a:pt x="174" y="428"/>
                  <a:pt x="174" y="428"/>
                </a:cubicBezTo>
                <a:cubicBezTo>
                  <a:pt x="174" y="428"/>
                  <a:pt x="188" y="425"/>
                  <a:pt x="184" y="434"/>
                </a:cubicBezTo>
                <a:cubicBezTo>
                  <a:pt x="184" y="434"/>
                  <a:pt x="169" y="444"/>
                  <a:pt x="166" y="442"/>
                </a:cubicBezTo>
                <a:cubicBezTo>
                  <a:pt x="162" y="440"/>
                  <a:pt x="144" y="438"/>
                  <a:pt x="140" y="432"/>
                </a:cubicBezTo>
                <a:cubicBezTo>
                  <a:pt x="136" y="426"/>
                  <a:pt x="124" y="425"/>
                  <a:pt x="118" y="425"/>
                </a:cubicBezTo>
                <a:cubicBezTo>
                  <a:pt x="113" y="424"/>
                  <a:pt x="95" y="416"/>
                  <a:pt x="110" y="400"/>
                </a:cubicBezTo>
                <a:cubicBezTo>
                  <a:pt x="126" y="385"/>
                  <a:pt x="124" y="380"/>
                  <a:pt x="129" y="371"/>
                </a:cubicBezTo>
                <a:cubicBezTo>
                  <a:pt x="133" y="362"/>
                  <a:pt x="141" y="355"/>
                  <a:pt x="141" y="351"/>
                </a:cubicBezTo>
                <a:cubicBezTo>
                  <a:pt x="141" y="348"/>
                  <a:pt x="152" y="321"/>
                  <a:pt x="158" y="318"/>
                </a:cubicBezTo>
                <a:cubicBezTo>
                  <a:pt x="158" y="318"/>
                  <a:pt x="96" y="315"/>
                  <a:pt x="89" y="310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4" name="iS1iďe"/>
          <p:cNvSpPr/>
          <p:nvPr/>
        </p:nvSpPr>
        <p:spPr bwMode="auto">
          <a:xfrm>
            <a:off x="802839" y="3264846"/>
            <a:ext cx="143206" cy="283582"/>
          </a:xfrm>
          <a:custGeom>
            <a:avLst/>
            <a:gdLst>
              <a:gd name="T0" fmla="*/ 149 w 278"/>
              <a:gd name="T1" fmla="*/ 352 h 549"/>
              <a:gd name="T2" fmla="*/ 143 w 278"/>
              <a:gd name="T3" fmla="*/ 416 h 549"/>
              <a:gd name="T4" fmla="*/ 71 w 278"/>
              <a:gd name="T5" fmla="*/ 458 h 549"/>
              <a:gd name="T6" fmla="*/ 32 w 278"/>
              <a:gd name="T7" fmla="*/ 502 h 549"/>
              <a:gd name="T8" fmla="*/ 28 w 278"/>
              <a:gd name="T9" fmla="*/ 531 h 549"/>
              <a:gd name="T10" fmla="*/ 5 w 278"/>
              <a:gd name="T11" fmla="*/ 515 h 549"/>
              <a:gd name="T12" fmla="*/ 2 w 278"/>
              <a:gd name="T13" fmla="*/ 474 h 549"/>
              <a:gd name="T14" fmla="*/ 45 w 278"/>
              <a:gd name="T15" fmla="*/ 440 h 549"/>
              <a:gd name="T16" fmla="*/ 105 w 278"/>
              <a:gd name="T17" fmla="*/ 377 h 549"/>
              <a:gd name="T18" fmla="*/ 75 w 278"/>
              <a:gd name="T19" fmla="*/ 298 h 549"/>
              <a:gd name="T20" fmla="*/ 65 w 278"/>
              <a:gd name="T21" fmla="*/ 191 h 549"/>
              <a:gd name="T22" fmla="*/ 75 w 278"/>
              <a:gd name="T23" fmla="*/ 93 h 549"/>
              <a:gd name="T24" fmla="*/ 110 w 278"/>
              <a:gd name="T25" fmla="*/ 6 h 549"/>
              <a:gd name="T26" fmla="*/ 154 w 278"/>
              <a:gd name="T27" fmla="*/ 54 h 549"/>
              <a:gd name="T28" fmla="*/ 147 w 278"/>
              <a:gd name="T29" fmla="*/ 77 h 549"/>
              <a:gd name="T30" fmla="*/ 202 w 278"/>
              <a:gd name="T31" fmla="*/ 56 h 549"/>
              <a:gd name="T32" fmla="*/ 216 w 278"/>
              <a:gd name="T33" fmla="*/ 25 h 549"/>
              <a:gd name="T34" fmla="*/ 237 w 278"/>
              <a:gd name="T35" fmla="*/ 35 h 549"/>
              <a:gd name="T36" fmla="*/ 229 w 278"/>
              <a:gd name="T37" fmla="*/ 43 h 549"/>
              <a:gd name="T38" fmla="*/ 211 w 278"/>
              <a:gd name="T39" fmla="*/ 69 h 549"/>
              <a:gd name="T40" fmla="*/ 159 w 278"/>
              <a:gd name="T41" fmla="*/ 106 h 549"/>
              <a:gd name="T42" fmla="*/ 189 w 278"/>
              <a:gd name="T43" fmla="*/ 101 h 549"/>
              <a:gd name="T44" fmla="*/ 240 w 278"/>
              <a:gd name="T45" fmla="*/ 70 h 549"/>
              <a:gd name="T46" fmla="*/ 255 w 278"/>
              <a:gd name="T47" fmla="*/ 42 h 549"/>
              <a:gd name="T48" fmla="*/ 274 w 278"/>
              <a:gd name="T49" fmla="*/ 54 h 549"/>
              <a:gd name="T50" fmla="*/ 255 w 278"/>
              <a:gd name="T51" fmla="*/ 81 h 549"/>
              <a:gd name="T52" fmla="*/ 197 w 278"/>
              <a:gd name="T53" fmla="*/ 132 h 549"/>
              <a:gd name="T54" fmla="*/ 137 w 278"/>
              <a:gd name="T55" fmla="*/ 140 h 549"/>
              <a:gd name="T56" fmla="*/ 130 w 278"/>
              <a:gd name="T57" fmla="*/ 223 h 549"/>
              <a:gd name="T58" fmla="*/ 196 w 278"/>
              <a:gd name="T59" fmla="*/ 184 h 549"/>
              <a:gd name="T60" fmla="*/ 230 w 278"/>
              <a:gd name="T61" fmla="*/ 228 h 549"/>
              <a:gd name="T62" fmla="*/ 202 w 278"/>
              <a:gd name="T63" fmla="*/ 313 h 549"/>
              <a:gd name="T64" fmla="*/ 241 w 278"/>
              <a:gd name="T65" fmla="*/ 322 h 549"/>
              <a:gd name="T66" fmla="*/ 205 w 278"/>
              <a:gd name="T67" fmla="*/ 338 h 549"/>
              <a:gd name="T68" fmla="*/ 163 w 278"/>
              <a:gd name="T69" fmla="*/ 318 h 549"/>
              <a:gd name="T70" fmla="*/ 179 w 278"/>
              <a:gd name="T71" fmla="*/ 264 h 549"/>
              <a:gd name="T72" fmla="*/ 132 w 278"/>
              <a:gd name="T73" fmla="*/ 292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78" h="549">
                <a:moveTo>
                  <a:pt x="132" y="292"/>
                </a:moveTo>
                <a:cubicBezTo>
                  <a:pt x="132" y="292"/>
                  <a:pt x="148" y="326"/>
                  <a:pt x="149" y="352"/>
                </a:cubicBezTo>
                <a:cubicBezTo>
                  <a:pt x="149" y="377"/>
                  <a:pt x="151" y="378"/>
                  <a:pt x="152" y="385"/>
                </a:cubicBezTo>
                <a:cubicBezTo>
                  <a:pt x="153" y="391"/>
                  <a:pt x="152" y="408"/>
                  <a:pt x="143" y="416"/>
                </a:cubicBezTo>
                <a:cubicBezTo>
                  <a:pt x="134" y="423"/>
                  <a:pt x="120" y="427"/>
                  <a:pt x="114" y="432"/>
                </a:cubicBezTo>
                <a:cubicBezTo>
                  <a:pt x="109" y="437"/>
                  <a:pt x="81" y="453"/>
                  <a:pt x="71" y="458"/>
                </a:cubicBezTo>
                <a:cubicBezTo>
                  <a:pt x="61" y="463"/>
                  <a:pt x="40" y="481"/>
                  <a:pt x="38" y="487"/>
                </a:cubicBezTo>
                <a:cubicBezTo>
                  <a:pt x="35" y="492"/>
                  <a:pt x="33" y="493"/>
                  <a:pt x="32" y="502"/>
                </a:cubicBezTo>
                <a:cubicBezTo>
                  <a:pt x="31" y="511"/>
                  <a:pt x="25" y="520"/>
                  <a:pt x="30" y="526"/>
                </a:cubicBezTo>
                <a:cubicBezTo>
                  <a:pt x="34" y="533"/>
                  <a:pt x="30" y="530"/>
                  <a:pt x="28" y="531"/>
                </a:cubicBezTo>
                <a:cubicBezTo>
                  <a:pt x="28" y="531"/>
                  <a:pt x="25" y="549"/>
                  <a:pt x="14" y="530"/>
                </a:cubicBezTo>
                <a:cubicBezTo>
                  <a:pt x="3" y="512"/>
                  <a:pt x="7" y="518"/>
                  <a:pt x="5" y="515"/>
                </a:cubicBezTo>
                <a:cubicBezTo>
                  <a:pt x="3" y="511"/>
                  <a:pt x="4" y="505"/>
                  <a:pt x="5" y="498"/>
                </a:cubicBezTo>
                <a:cubicBezTo>
                  <a:pt x="6" y="490"/>
                  <a:pt x="3" y="477"/>
                  <a:pt x="2" y="474"/>
                </a:cubicBezTo>
                <a:cubicBezTo>
                  <a:pt x="0" y="470"/>
                  <a:pt x="2" y="456"/>
                  <a:pt x="19" y="456"/>
                </a:cubicBezTo>
                <a:cubicBezTo>
                  <a:pt x="19" y="456"/>
                  <a:pt x="34" y="455"/>
                  <a:pt x="45" y="440"/>
                </a:cubicBezTo>
                <a:cubicBezTo>
                  <a:pt x="57" y="425"/>
                  <a:pt x="85" y="399"/>
                  <a:pt x="105" y="396"/>
                </a:cubicBezTo>
                <a:cubicBezTo>
                  <a:pt x="105" y="396"/>
                  <a:pt x="109" y="383"/>
                  <a:pt x="105" y="377"/>
                </a:cubicBezTo>
                <a:cubicBezTo>
                  <a:pt x="100" y="372"/>
                  <a:pt x="84" y="322"/>
                  <a:pt x="83" y="311"/>
                </a:cubicBezTo>
                <a:cubicBezTo>
                  <a:pt x="83" y="311"/>
                  <a:pt x="80" y="304"/>
                  <a:pt x="75" y="298"/>
                </a:cubicBezTo>
                <a:cubicBezTo>
                  <a:pt x="70" y="293"/>
                  <a:pt x="50" y="260"/>
                  <a:pt x="65" y="243"/>
                </a:cubicBezTo>
                <a:cubicBezTo>
                  <a:pt x="65" y="243"/>
                  <a:pt x="65" y="202"/>
                  <a:pt x="65" y="191"/>
                </a:cubicBezTo>
                <a:cubicBezTo>
                  <a:pt x="65" y="180"/>
                  <a:pt x="61" y="152"/>
                  <a:pt x="63" y="138"/>
                </a:cubicBezTo>
                <a:cubicBezTo>
                  <a:pt x="64" y="124"/>
                  <a:pt x="67" y="105"/>
                  <a:pt x="75" y="93"/>
                </a:cubicBezTo>
                <a:cubicBezTo>
                  <a:pt x="83" y="82"/>
                  <a:pt x="90" y="75"/>
                  <a:pt x="91" y="65"/>
                </a:cubicBezTo>
                <a:cubicBezTo>
                  <a:pt x="93" y="56"/>
                  <a:pt x="80" y="14"/>
                  <a:pt x="110" y="6"/>
                </a:cubicBezTo>
                <a:cubicBezTo>
                  <a:pt x="110" y="6"/>
                  <a:pt x="163" y="0"/>
                  <a:pt x="156" y="38"/>
                </a:cubicBezTo>
                <a:cubicBezTo>
                  <a:pt x="156" y="38"/>
                  <a:pt x="157" y="51"/>
                  <a:pt x="154" y="54"/>
                </a:cubicBezTo>
                <a:cubicBezTo>
                  <a:pt x="154" y="54"/>
                  <a:pt x="163" y="71"/>
                  <a:pt x="150" y="72"/>
                </a:cubicBezTo>
                <a:cubicBezTo>
                  <a:pt x="147" y="77"/>
                  <a:pt x="147" y="77"/>
                  <a:pt x="147" y="77"/>
                </a:cubicBezTo>
                <a:cubicBezTo>
                  <a:pt x="147" y="77"/>
                  <a:pt x="160" y="72"/>
                  <a:pt x="168" y="69"/>
                </a:cubicBezTo>
                <a:cubicBezTo>
                  <a:pt x="175" y="66"/>
                  <a:pt x="198" y="60"/>
                  <a:pt x="202" y="56"/>
                </a:cubicBezTo>
                <a:cubicBezTo>
                  <a:pt x="206" y="52"/>
                  <a:pt x="205" y="46"/>
                  <a:pt x="206" y="41"/>
                </a:cubicBezTo>
                <a:cubicBezTo>
                  <a:pt x="207" y="37"/>
                  <a:pt x="213" y="28"/>
                  <a:pt x="216" y="25"/>
                </a:cubicBezTo>
                <a:cubicBezTo>
                  <a:pt x="216" y="25"/>
                  <a:pt x="245" y="19"/>
                  <a:pt x="234" y="29"/>
                </a:cubicBezTo>
                <a:cubicBezTo>
                  <a:pt x="237" y="35"/>
                  <a:pt x="237" y="35"/>
                  <a:pt x="237" y="35"/>
                </a:cubicBezTo>
                <a:cubicBezTo>
                  <a:pt x="236" y="44"/>
                  <a:pt x="236" y="44"/>
                  <a:pt x="236" y="44"/>
                </a:cubicBezTo>
                <a:cubicBezTo>
                  <a:pt x="236" y="44"/>
                  <a:pt x="229" y="53"/>
                  <a:pt x="229" y="43"/>
                </a:cubicBezTo>
                <a:cubicBezTo>
                  <a:pt x="229" y="43"/>
                  <a:pt x="224" y="47"/>
                  <a:pt x="224" y="52"/>
                </a:cubicBezTo>
                <a:cubicBezTo>
                  <a:pt x="224" y="56"/>
                  <a:pt x="217" y="67"/>
                  <a:pt x="211" y="69"/>
                </a:cubicBezTo>
                <a:cubicBezTo>
                  <a:pt x="211" y="69"/>
                  <a:pt x="198" y="77"/>
                  <a:pt x="192" y="81"/>
                </a:cubicBezTo>
                <a:cubicBezTo>
                  <a:pt x="186" y="85"/>
                  <a:pt x="164" y="105"/>
                  <a:pt x="159" y="106"/>
                </a:cubicBezTo>
                <a:cubicBezTo>
                  <a:pt x="159" y="106"/>
                  <a:pt x="171" y="110"/>
                  <a:pt x="174" y="108"/>
                </a:cubicBezTo>
                <a:cubicBezTo>
                  <a:pt x="178" y="106"/>
                  <a:pt x="185" y="104"/>
                  <a:pt x="189" y="101"/>
                </a:cubicBezTo>
                <a:cubicBezTo>
                  <a:pt x="194" y="99"/>
                  <a:pt x="219" y="86"/>
                  <a:pt x="224" y="82"/>
                </a:cubicBezTo>
                <a:cubicBezTo>
                  <a:pt x="230" y="77"/>
                  <a:pt x="240" y="73"/>
                  <a:pt x="240" y="70"/>
                </a:cubicBezTo>
                <a:cubicBezTo>
                  <a:pt x="241" y="66"/>
                  <a:pt x="243" y="51"/>
                  <a:pt x="243" y="51"/>
                </a:cubicBezTo>
                <a:cubicBezTo>
                  <a:pt x="243" y="51"/>
                  <a:pt x="251" y="43"/>
                  <a:pt x="255" y="42"/>
                </a:cubicBezTo>
                <a:cubicBezTo>
                  <a:pt x="259" y="41"/>
                  <a:pt x="262" y="42"/>
                  <a:pt x="267" y="45"/>
                </a:cubicBezTo>
                <a:cubicBezTo>
                  <a:pt x="272" y="49"/>
                  <a:pt x="276" y="52"/>
                  <a:pt x="274" y="54"/>
                </a:cubicBezTo>
                <a:cubicBezTo>
                  <a:pt x="273" y="56"/>
                  <a:pt x="278" y="59"/>
                  <a:pt x="271" y="65"/>
                </a:cubicBezTo>
                <a:cubicBezTo>
                  <a:pt x="265" y="72"/>
                  <a:pt x="257" y="80"/>
                  <a:pt x="255" y="81"/>
                </a:cubicBezTo>
                <a:cubicBezTo>
                  <a:pt x="253" y="82"/>
                  <a:pt x="231" y="105"/>
                  <a:pt x="225" y="111"/>
                </a:cubicBezTo>
                <a:cubicBezTo>
                  <a:pt x="219" y="118"/>
                  <a:pt x="201" y="131"/>
                  <a:pt x="197" y="132"/>
                </a:cubicBezTo>
                <a:cubicBezTo>
                  <a:pt x="193" y="134"/>
                  <a:pt x="196" y="137"/>
                  <a:pt x="188" y="137"/>
                </a:cubicBezTo>
                <a:cubicBezTo>
                  <a:pt x="180" y="137"/>
                  <a:pt x="142" y="141"/>
                  <a:pt x="137" y="140"/>
                </a:cubicBezTo>
                <a:cubicBezTo>
                  <a:pt x="137" y="140"/>
                  <a:pt x="136" y="177"/>
                  <a:pt x="132" y="195"/>
                </a:cubicBezTo>
                <a:cubicBezTo>
                  <a:pt x="130" y="223"/>
                  <a:pt x="130" y="223"/>
                  <a:pt x="130" y="223"/>
                </a:cubicBezTo>
                <a:cubicBezTo>
                  <a:pt x="130" y="223"/>
                  <a:pt x="153" y="205"/>
                  <a:pt x="165" y="198"/>
                </a:cubicBezTo>
                <a:cubicBezTo>
                  <a:pt x="177" y="191"/>
                  <a:pt x="190" y="186"/>
                  <a:pt x="196" y="184"/>
                </a:cubicBezTo>
                <a:cubicBezTo>
                  <a:pt x="201" y="181"/>
                  <a:pt x="227" y="169"/>
                  <a:pt x="235" y="196"/>
                </a:cubicBezTo>
                <a:cubicBezTo>
                  <a:pt x="235" y="196"/>
                  <a:pt x="236" y="214"/>
                  <a:pt x="230" y="228"/>
                </a:cubicBezTo>
                <a:cubicBezTo>
                  <a:pt x="223" y="243"/>
                  <a:pt x="212" y="263"/>
                  <a:pt x="208" y="274"/>
                </a:cubicBezTo>
                <a:cubicBezTo>
                  <a:pt x="203" y="285"/>
                  <a:pt x="198" y="311"/>
                  <a:pt x="202" y="313"/>
                </a:cubicBezTo>
                <a:cubicBezTo>
                  <a:pt x="207" y="316"/>
                  <a:pt x="217" y="323"/>
                  <a:pt x="222" y="322"/>
                </a:cubicBezTo>
                <a:cubicBezTo>
                  <a:pt x="226" y="321"/>
                  <a:pt x="241" y="314"/>
                  <a:pt x="241" y="322"/>
                </a:cubicBezTo>
                <a:cubicBezTo>
                  <a:pt x="241" y="322"/>
                  <a:pt x="237" y="330"/>
                  <a:pt x="233" y="331"/>
                </a:cubicBezTo>
                <a:cubicBezTo>
                  <a:pt x="233" y="331"/>
                  <a:pt x="214" y="341"/>
                  <a:pt x="205" y="338"/>
                </a:cubicBezTo>
                <a:cubicBezTo>
                  <a:pt x="196" y="336"/>
                  <a:pt x="188" y="337"/>
                  <a:pt x="181" y="338"/>
                </a:cubicBezTo>
                <a:cubicBezTo>
                  <a:pt x="173" y="339"/>
                  <a:pt x="155" y="335"/>
                  <a:pt x="163" y="318"/>
                </a:cubicBezTo>
                <a:cubicBezTo>
                  <a:pt x="171" y="302"/>
                  <a:pt x="170" y="299"/>
                  <a:pt x="171" y="295"/>
                </a:cubicBezTo>
                <a:cubicBezTo>
                  <a:pt x="172" y="292"/>
                  <a:pt x="179" y="267"/>
                  <a:pt x="179" y="264"/>
                </a:cubicBezTo>
                <a:cubicBezTo>
                  <a:pt x="179" y="261"/>
                  <a:pt x="178" y="246"/>
                  <a:pt x="181" y="242"/>
                </a:cubicBezTo>
                <a:cubicBezTo>
                  <a:pt x="181" y="242"/>
                  <a:pt x="143" y="291"/>
                  <a:pt x="132" y="292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5" name="îşlïḍè"/>
          <p:cNvSpPr/>
          <p:nvPr/>
        </p:nvSpPr>
        <p:spPr bwMode="auto">
          <a:xfrm>
            <a:off x="1080692" y="3164915"/>
            <a:ext cx="144294" cy="199356"/>
          </a:xfrm>
          <a:custGeom>
            <a:avLst/>
            <a:gdLst>
              <a:gd name="T0" fmla="*/ 267 w 280"/>
              <a:gd name="T1" fmla="*/ 160 h 386"/>
              <a:gd name="T2" fmla="*/ 250 w 280"/>
              <a:gd name="T3" fmla="*/ 162 h 386"/>
              <a:gd name="T4" fmla="*/ 231 w 280"/>
              <a:gd name="T5" fmla="*/ 164 h 386"/>
              <a:gd name="T6" fmla="*/ 204 w 280"/>
              <a:gd name="T7" fmla="*/ 153 h 386"/>
              <a:gd name="T8" fmla="*/ 225 w 280"/>
              <a:gd name="T9" fmla="*/ 151 h 386"/>
              <a:gd name="T10" fmla="*/ 237 w 280"/>
              <a:gd name="T11" fmla="*/ 142 h 386"/>
              <a:gd name="T12" fmla="*/ 250 w 280"/>
              <a:gd name="T13" fmla="*/ 143 h 386"/>
              <a:gd name="T14" fmla="*/ 256 w 280"/>
              <a:gd name="T15" fmla="*/ 133 h 386"/>
              <a:gd name="T16" fmla="*/ 251 w 280"/>
              <a:gd name="T17" fmla="*/ 123 h 386"/>
              <a:gd name="T18" fmla="*/ 244 w 280"/>
              <a:gd name="T19" fmla="*/ 113 h 386"/>
              <a:gd name="T20" fmla="*/ 233 w 280"/>
              <a:gd name="T21" fmla="*/ 116 h 386"/>
              <a:gd name="T22" fmla="*/ 214 w 280"/>
              <a:gd name="T23" fmla="*/ 133 h 386"/>
              <a:gd name="T24" fmla="*/ 191 w 280"/>
              <a:gd name="T25" fmla="*/ 134 h 386"/>
              <a:gd name="T26" fmla="*/ 145 w 280"/>
              <a:gd name="T27" fmla="*/ 132 h 386"/>
              <a:gd name="T28" fmla="*/ 134 w 280"/>
              <a:gd name="T29" fmla="*/ 125 h 386"/>
              <a:gd name="T30" fmla="*/ 112 w 280"/>
              <a:gd name="T31" fmla="*/ 101 h 386"/>
              <a:gd name="T32" fmla="*/ 114 w 280"/>
              <a:gd name="T33" fmla="*/ 88 h 386"/>
              <a:gd name="T34" fmla="*/ 140 w 280"/>
              <a:gd name="T35" fmla="*/ 72 h 386"/>
              <a:gd name="T36" fmla="*/ 145 w 280"/>
              <a:gd name="T37" fmla="*/ 56 h 386"/>
              <a:gd name="T38" fmla="*/ 150 w 280"/>
              <a:gd name="T39" fmla="*/ 39 h 386"/>
              <a:gd name="T40" fmla="*/ 106 w 280"/>
              <a:gd name="T41" fmla="*/ 5 h 386"/>
              <a:gd name="T42" fmla="*/ 84 w 280"/>
              <a:gd name="T43" fmla="*/ 55 h 386"/>
              <a:gd name="T44" fmla="*/ 75 w 280"/>
              <a:gd name="T45" fmla="*/ 74 h 386"/>
              <a:gd name="T46" fmla="*/ 57 w 280"/>
              <a:gd name="T47" fmla="*/ 94 h 386"/>
              <a:gd name="T48" fmla="*/ 6 w 280"/>
              <a:gd name="T49" fmla="*/ 238 h 386"/>
              <a:gd name="T50" fmla="*/ 82 w 280"/>
              <a:gd name="T51" fmla="*/ 284 h 386"/>
              <a:gd name="T52" fmla="*/ 109 w 280"/>
              <a:gd name="T53" fmla="*/ 277 h 386"/>
              <a:gd name="T54" fmla="*/ 77 w 280"/>
              <a:gd name="T55" fmla="*/ 308 h 386"/>
              <a:gd name="T56" fmla="*/ 58 w 280"/>
              <a:gd name="T57" fmla="*/ 325 h 386"/>
              <a:gd name="T58" fmla="*/ 52 w 280"/>
              <a:gd name="T59" fmla="*/ 343 h 386"/>
              <a:gd name="T60" fmla="*/ 66 w 280"/>
              <a:gd name="T61" fmla="*/ 359 h 386"/>
              <a:gd name="T62" fmla="*/ 84 w 280"/>
              <a:gd name="T63" fmla="*/ 377 h 386"/>
              <a:gd name="T64" fmla="*/ 97 w 280"/>
              <a:gd name="T65" fmla="*/ 383 h 386"/>
              <a:gd name="T66" fmla="*/ 107 w 280"/>
              <a:gd name="T67" fmla="*/ 385 h 386"/>
              <a:gd name="T68" fmla="*/ 106 w 280"/>
              <a:gd name="T69" fmla="*/ 370 h 386"/>
              <a:gd name="T70" fmla="*/ 91 w 280"/>
              <a:gd name="T71" fmla="*/ 340 h 386"/>
              <a:gd name="T72" fmla="*/ 119 w 280"/>
              <a:gd name="T73" fmla="*/ 313 h 386"/>
              <a:gd name="T74" fmla="*/ 137 w 280"/>
              <a:gd name="T75" fmla="*/ 317 h 386"/>
              <a:gd name="T76" fmla="*/ 161 w 280"/>
              <a:gd name="T77" fmla="*/ 312 h 386"/>
              <a:gd name="T78" fmla="*/ 182 w 280"/>
              <a:gd name="T79" fmla="*/ 305 h 386"/>
              <a:gd name="T80" fmla="*/ 194 w 280"/>
              <a:gd name="T81" fmla="*/ 295 h 386"/>
              <a:gd name="T82" fmla="*/ 175 w 280"/>
              <a:gd name="T83" fmla="*/ 293 h 386"/>
              <a:gd name="T84" fmla="*/ 156 w 280"/>
              <a:gd name="T85" fmla="*/ 289 h 386"/>
              <a:gd name="T86" fmla="*/ 160 w 280"/>
              <a:gd name="T87" fmla="*/ 234 h 386"/>
              <a:gd name="T88" fmla="*/ 175 w 280"/>
              <a:gd name="T89" fmla="*/ 178 h 386"/>
              <a:gd name="T90" fmla="*/ 192 w 280"/>
              <a:gd name="T91" fmla="*/ 179 h 386"/>
              <a:gd name="T92" fmla="*/ 221 w 280"/>
              <a:gd name="T93" fmla="*/ 179 h 386"/>
              <a:gd name="T94" fmla="*/ 238 w 280"/>
              <a:gd name="T95" fmla="*/ 181 h 386"/>
              <a:gd name="T96" fmla="*/ 252 w 280"/>
              <a:gd name="T97" fmla="*/ 183 h 386"/>
              <a:gd name="T98" fmla="*/ 259 w 280"/>
              <a:gd name="T99" fmla="*/ 189 h 386"/>
              <a:gd name="T100" fmla="*/ 273 w 280"/>
              <a:gd name="T101" fmla="*/ 186 h 386"/>
              <a:gd name="T102" fmla="*/ 280 w 280"/>
              <a:gd name="T103" fmla="*/ 174 h 386"/>
              <a:gd name="T104" fmla="*/ 267 w 280"/>
              <a:gd name="T105" fmla="*/ 160 h 386"/>
              <a:gd name="T106" fmla="*/ 118 w 280"/>
              <a:gd name="T107" fmla="*/ 230 h 386"/>
              <a:gd name="T108" fmla="*/ 127 w 280"/>
              <a:gd name="T109" fmla="*/ 214 h 386"/>
              <a:gd name="T110" fmla="*/ 128 w 280"/>
              <a:gd name="T111" fmla="*/ 229 h 386"/>
              <a:gd name="T112" fmla="*/ 118 w 280"/>
              <a:gd name="T113" fmla="*/ 230 h 386"/>
              <a:gd name="T114" fmla="*/ 99 w 280"/>
              <a:gd name="T115" fmla="*/ 181 h 386"/>
              <a:gd name="T116" fmla="*/ 113 w 280"/>
              <a:gd name="T117" fmla="*/ 159 h 386"/>
              <a:gd name="T118" fmla="*/ 131 w 280"/>
              <a:gd name="T119" fmla="*/ 159 h 386"/>
              <a:gd name="T120" fmla="*/ 99 w 280"/>
              <a:gd name="T121" fmla="*/ 18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0" h="386">
                <a:moveTo>
                  <a:pt x="267" y="160"/>
                </a:moveTo>
                <a:cubicBezTo>
                  <a:pt x="263" y="153"/>
                  <a:pt x="254" y="161"/>
                  <a:pt x="250" y="162"/>
                </a:cubicBezTo>
                <a:cubicBezTo>
                  <a:pt x="246" y="163"/>
                  <a:pt x="237" y="164"/>
                  <a:pt x="231" y="164"/>
                </a:cubicBezTo>
                <a:cubicBezTo>
                  <a:pt x="225" y="164"/>
                  <a:pt x="204" y="153"/>
                  <a:pt x="204" y="153"/>
                </a:cubicBezTo>
                <a:cubicBezTo>
                  <a:pt x="204" y="153"/>
                  <a:pt x="219" y="151"/>
                  <a:pt x="225" y="151"/>
                </a:cubicBezTo>
                <a:cubicBezTo>
                  <a:pt x="231" y="151"/>
                  <a:pt x="237" y="142"/>
                  <a:pt x="237" y="142"/>
                </a:cubicBezTo>
                <a:cubicBezTo>
                  <a:pt x="240" y="146"/>
                  <a:pt x="250" y="143"/>
                  <a:pt x="250" y="143"/>
                </a:cubicBezTo>
                <a:cubicBezTo>
                  <a:pt x="250" y="143"/>
                  <a:pt x="253" y="138"/>
                  <a:pt x="256" y="133"/>
                </a:cubicBezTo>
                <a:cubicBezTo>
                  <a:pt x="259" y="129"/>
                  <a:pt x="251" y="123"/>
                  <a:pt x="251" y="123"/>
                </a:cubicBezTo>
                <a:cubicBezTo>
                  <a:pt x="274" y="124"/>
                  <a:pt x="244" y="113"/>
                  <a:pt x="244" y="113"/>
                </a:cubicBezTo>
                <a:cubicBezTo>
                  <a:pt x="244" y="113"/>
                  <a:pt x="240" y="114"/>
                  <a:pt x="233" y="116"/>
                </a:cubicBezTo>
                <a:cubicBezTo>
                  <a:pt x="225" y="117"/>
                  <a:pt x="218" y="131"/>
                  <a:pt x="214" y="133"/>
                </a:cubicBezTo>
                <a:cubicBezTo>
                  <a:pt x="211" y="134"/>
                  <a:pt x="205" y="134"/>
                  <a:pt x="191" y="134"/>
                </a:cubicBezTo>
                <a:cubicBezTo>
                  <a:pt x="177" y="135"/>
                  <a:pt x="147" y="132"/>
                  <a:pt x="145" y="132"/>
                </a:cubicBezTo>
                <a:cubicBezTo>
                  <a:pt x="144" y="132"/>
                  <a:pt x="141" y="133"/>
                  <a:pt x="134" y="125"/>
                </a:cubicBezTo>
                <a:cubicBezTo>
                  <a:pt x="126" y="117"/>
                  <a:pt x="113" y="104"/>
                  <a:pt x="112" y="101"/>
                </a:cubicBezTo>
                <a:cubicBezTo>
                  <a:pt x="110" y="99"/>
                  <a:pt x="114" y="88"/>
                  <a:pt x="114" y="88"/>
                </a:cubicBezTo>
                <a:cubicBezTo>
                  <a:pt x="129" y="93"/>
                  <a:pt x="140" y="72"/>
                  <a:pt x="140" y="72"/>
                </a:cubicBezTo>
                <a:cubicBezTo>
                  <a:pt x="150" y="76"/>
                  <a:pt x="145" y="56"/>
                  <a:pt x="145" y="56"/>
                </a:cubicBezTo>
                <a:cubicBezTo>
                  <a:pt x="150" y="53"/>
                  <a:pt x="150" y="39"/>
                  <a:pt x="150" y="39"/>
                </a:cubicBezTo>
                <a:cubicBezTo>
                  <a:pt x="156" y="0"/>
                  <a:pt x="106" y="5"/>
                  <a:pt x="106" y="5"/>
                </a:cubicBezTo>
                <a:cubicBezTo>
                  <a:pt x="80" y="9"/>
                  <a:pt x="84" y="48"/>
                  <a:pt x="84" y="55"/>
                </a:cubicBezTo>
                <a:cubicBezTo>
                  <a:pt x="83" y="63"/>
                  <a:pt x="77" y="72"/>
                  <a:pt x="75" y="74"/>
                </a:cubicBezTo>
                <a:cubicBezTo>
                  <a:pt x="73" y="75"/>
                  <a:pt x="57" y="94"/>
                  <a:pt x="57" y="94"/>
                </a:cubicBezTo>
                <a:cubicBezTo>
                  <a:pt x="17" y="141"/>
                  <a:pt x="6" y="238"/>
                  <a:pt x="6" y="238"/>
                </a:cubicBezTo>
                <a:cubicBezTo>
                  <a:pt x="0" y="308"/>
                  <a:pt x="73" y="286"/>
                  <a:pt x="82" y="284"/>
                </a:cubicBezTo>
                <a:cubicBezTo>
                  <a:pt x="91" y="281"/>
                  <a:pt x="109" y="277"/>
                  <a:pt x="109" y="277"/>
                </a:cubicBezTo>
                <a:cubicBezTo>
                  <a:pt x="104" y="279"/>
                  <a:pt x="82" y="302"/>
                  <a:pt x="77" y="308"/>
                </a:cubicBezTo>
                <a:cubicBezTo>
                  <a:pt x="73" y="314"/>
                  <a:pt x="69" y="319"/>
                  <a:pt x="58" y="325"/>
                </a:cubicBezTo>
                <a:cubicBezTo>
                  <a:pt x="47" y="331"/>
                  <a:pt x="48" y="337"/>
                  <a:pt x="52" y="343"/>
                </a:cubicBezTo>
                <a:cubicBezTo>
                  <a:pt x="56" y="349"/>
                  <a:pt x="64" y="352"/>
                  <a:pt x="66" y="359"/>
                </a:cubicBezTo>
                <a:cubicBezTo>
                  <a:pt x="66" y="359"/>
                  <a:pt x="79" y="375"/>
                  <a:pt x="84" y="377"/>
                </a:cubicBezTo>
                <a:cubicBezTo>
                  <a:pt x="89" y="379"/>
                  <a:pt x="92" y="380"/>
                  <a:pt x="97" y="383"/>
                </a:cubicBezTo>
                <a:cubicBezTo>
                  <a:pt x="101" y="386"/>
                  <a:pt x="107" y="385"/>
                  <a:pt x="107" y="385"/>
                </a:cubicBezTo>
                <a:cubicBezTo>
                  <a:pt x="120" y="382"/>
                  <a:pt x="106" y="370"/>
                  <a:pt x="106" y="370"/>
                </a:cubicBezTo>
                <a:cubicBezTo>
                  <a:pt x="97" y="364"/>
                  <a:pt x="91" y="340"/>
                  <a:pt x="91" y="340"/>
                </a:cubicBezTo>
                <a:cubicBezTo>
                  <a:pt x="89" y="325"/>
                  <a:pt x="119" y="313"/>
                  <a:pt x="119" y="313"/>
                </a:cubicBezTo>
                <a:cubicBezTo>
                  <a:pt x="114" y="324"/>
                  <a:pt x="133" y="318"/>
                  <a:pt x="137" y="317"/>
                </a:cubicBezTo>
                <a:cubicBezTo>
                  <a:pt x="140" y="316"/>
                  <a:pt x="156" y="312"/>
                  <a:pt x="161" y="312"/>
                </a:cubicBezTo>
                <a:cubicBezTo>
                  <a:pt x="167" y="311"/>
                  <a:pt x="178" y="307"/>
                  <a:pt x="182" y="305"/>
                </a:cubicBezTo>
                <a:cubicBezTo>
                  <a:pt x="186" y="303"/>
                  <a:pt x="190" y="308"/>
                  <a:pt x="194" y="295"/>
                </a:cubicBezTo>
                <a:cubicBezTo>
                  <a:pt x="199" y="283"/>
                  <a:pt x="180" y="291"/>
                  <a:pt x="175" y="293"/>
                </a:cubicBezTo>
                <a:cubicBezTo>
                  <a:pt x="170" y="296"/>
                  <a:pt x="156" y="289"/>
                  <a:pt x="156" y="289"/>
                </a:cubicBezTo>
                <a:cubicBezTo>
                  <a:pt x="204" y="245"/>
                  <a:pt x="160" y="234"/>
                  <a:pt x="160" y="234"/>
                </a:cubicBezTo>
                <a:cubicBezTo>
                  <a:pt x="171" y="229"/>
                  <a:pt x="175" y="178"/>
                  <a:pt x="175" y="178"/>
                </a:cubicBezTo>
                <a:cubicBezTo>
                  <a:pt x="175" y="178"/>
                  <a:pt x="185" y="179"/>
                  <a:pt x="192" y="179"/>
                </a:cubicBezTo>
                <a:cubicBezTo>
                  <a:pt x="198" y="179"/>
                  <a:pt x="215" y="179"/>
                  <a:pt x="221" y="179"/>
                </a:cubicBezTo>
                <a:cubicBezTo>
                  <a:pt x="227" y="178"/>
                  <a:pt x="234" y="179"/>
                  <a:pt x="238" y="181"/>
                </a:cubicBezTo>
                <a:cubicBezTo>
                  <a:pt x="242" y="183"/>
                  <a:pt x="248" y="184"/>
                  <a:pt x="252" y="183"/>
                </a:cubicBezTo>
                <a:cubicBezTo>
                  <a:pt x="256" y="183"/>
                  <a:pt x="254" y="185"/>
                  <a:pt x="259" y="189"/>
                </a:cubicBezTo>
                <a:cubicBezTo>
                  <a:pt x="264" y="192"/>
                  <a:pt x="269" y="191"/>
                  <a:pt x="273" y="186"/>
                </a:cubicBezTo>
                <a:cubicBezTo>
                  <a:pt x="276" y="182"/>
                  <a:pt x="280" y="174"/>
                  <a:pt x="280" y="174"/>
                </a:cubicBezTo>
                <a:lnTo>
                  <a:pt x="267" y="160"/>
                </a:lnTo>
                <a:close/>
                <a:moveTo>
                  <a:pt x="118" y="230"/>
                </a:moveTo>
                <a:cubicBezTo>
                  <a:pt x="118" y="230"/>
                  <a:pt x="126" y="220"/>
                  <a:pt x="127" y="214"/>
                </a:cubicBezTo>
                <a:cubicBezTo>
                  <a:pt x="128" y="229"/>
                  <a:pt x="128" y="229"/>
                  <a:pt x="128" y="229"/>
                </a:cubicBezTo>
                <a:lnTo>
                  <a:pt x="118" y="230"/>
                </a:lnTo>
                <a:close/>
                <a:moveTo>
                  <a:pt x="99" y="181"/>
                </a:moveTo>
                <a:cubicBezTo>
                  <a:pt x="99" y="175"/>
                  <a:pt x="110" y="157"/>
                  <a:pt x="113" y="159"/>
                </a:cubicBezTo>
                <a:cubicBezTo>
                  <a:pt x="116" y="160"/>
                  <a:pt x="131" y="159"/>
                  <a:pt x="131" y="159"/>
                </a:cubicBezTo>
                <a:cubicBezTo>
                  <a:pt x="123" y="160"/>
                  <a:pt x="99" y="181"/>
                  <a:pt x="99" y="181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6" name="îṧḻïḍé"/>
          <p:cNvSpPr/>
          <p:nvPr/>
        </p:nvSpPr>
        <p:spPr bwMode="auto">
          <a:xfrm>
            <a:off x="1359633" y="3212242"/>
            <a:ext cx="143640" cy="191086"/>
          </a:xfrm>
          <a:custGeom>
            <a:avLst/>
            <a:gdLst>
              <a:gd name="T0" fmla="*/ 149 w 279"/>
              <a:gd name="T1" fmla="*/ 338 h 370"/>
              <a:gd name="T2" fmla="*/ 140 w 279"/>
              <a:gd name="T3" fmla="*/ 315 h 370"/>
              <a:gd name="T4" fmla="*/ 135 w 279"/>
              <a:gd name="T5" fmla="*/ 238 h 370"/>
              <a:gd name="T6" fmla="*/ 24 w 279"/>
              <a:gd name="T7" fmla="*/ 276 h 370"/>
              <a:gd name="T8" fmla="*/ 2 w 279"/>
              <a:gd name="T9" fmla="*/ 239 h 370"/>
              <a:gd name="T10" fmla="*/ 8 w 279"/>
              <a:gd name="T11" fmla="*/ 206 h 370"/>
              <a:gd name="T12" fmla="*/ 23 w 279"/>
              <a:gd name="T13" fmla="*/ 162 h 370"/>
              <a:gd name="T14" fmla="*/ 107 w 279"/>
              <a:gd name="T15" fmla="*/ 61 h 370"/>
              <a:gd name="T16" fmla="*/ 127 w 279"/>
              <a:gd name="T17" fmla="*/ 5 h 370"/>
              <a:gd name="T18" fmla="*/ 173 w 279"/>
              <a:gd name="T19" fmla="*/ 40 h 370"/>
              <a:gd name="T20" fmla="*/ 169 w 279"/>
              <a:gd name="T21" fmla="*/ 57 h 370"/>
              <a:gd name="T22" fmla="*/ 163 w 279"/>
              <a:gd name="T23" fmla="*/ 75 h 370"/>
              <a:gd name="T24" fmla="*/ 135 w 279"/>
              <a:gd name="T25" fmla="*/ 89 h 370"/>
              <a:gd name="T26" fmla="*/ 133 w 279"/>
              <a:gd name="T27" fmla="*/ 93 h 370"/>
              <a:gd name="T28" fmla="*/ 145 w 279"/>
              <a:gd name="T29" fmla="*/ 107 h 370"/>
              <a:gd name="T30" fmla="*/ 161 w 279"/>
              <a:gd name="T31" fmla="*/ 110 h 370"/>
              <a:gd name="T32" fmla="*/ 210 w 279"/>
              <a:gd name="T33" fmla="*/ 113 h 370"/>
              <a:gd name="T34" fmla="*/ 233 w 279"/>
              <a:gd name="T35" fmla="*/ 108 h 370"/>
              <a:gd name="T36" fmla="*/ 248 w 279"/>
              <a:gd name="T37" fmla="*/ 93 h 370"/>
              <a:gd name="T38" fmla="*/ 261 w 279"/>
              <a:gd name="T39" fmla="*/ 91 h 370"/>
              <a:gd name="T40" fmla="*/ 268 w 279"/>
              <a:gd name="T41" fmla="*/ 102 h 370"/>
              <a:gd name="T42" fmla="*/ 268 w 279"/>
              <a:gd name="T43" fmla="*/ 115 h 370"/>
              <a:gd name="T44" fmla="*/ 256 w 279"/>
              <a:gd name="T45" fmla="*/ 122 h 370"/>
              <a:gd name="T46" fmla="*/ 254 w 279"/>
              <a:gd name="T47" fmla="*/ 117 h 370"/>
              <a:gd name="T48" fmla="*/ 239 w 279"/>
              <a:gd name="T49" fmla="*/ 127 h 370"/>
              <a:gd name="T50" fmla="*/ 203 w 279"/>
              <a:gd name="T51" fmla="*/ 135 h 370"/>
              <a:gd name="T52" fmla="*/ 224 w 279"/>
              <a:gd name="T53" fmla="*/ 137 h 370"/>
              <a:gd name="T54" fmla="*/ 243 w 279"/>
              <a:gd name="T55" fmla="*/ 138 h 370"/>
              <a:gd name="T56" fmla="*/ 254 w 279"/>
              <a:gd name="T57" fmla="*/ 147 h 370"/>
              <a:gd name="T58" fmla="*/ 253 w 279"/>
              <a:gd name="T59" fmla="*/ 155 h 370"/>
              <a:gd name="T60" fmla="*/ 241 w 279"/>
              <a:gd name="T61" fmla="*/ 168 h 370"/>
              <a:gd name="T62" fmla="*/ 227 w 279"/>
              <a:gd name="T63" fmla="*/ 162 h 370"/>
              <a:gd name="T64" fmla="*/ 214 w 279"/>
              <a:gd name="T65" fmla="*/ 159 h 370"/>
              <a:gd name="T66" fmla="*/ 195 w 279"/>
              <a:gd name="T67" fmla="*/ 157 h 370"/>
              <a:gd name="T68" fmla="*/ 157 w 279"/>
              <a:gd name="T69" fmla="*/ 156 h 370"/>
              <a:gd name="T70" fmla="*/ 147 w 279"/>
              <a:gd name="T71" fmla="*/ 150 h 370"/>
              <a:gd name="T72" fmla="*/ 126 w 279"/>
              <a:gd name="T73" fmla="*/ 143 h 370"/>
              <a:gd name="T74" fmla="*/ 98 w 279"/>
              <a:gd name="T75" fmla="*/ 190 h 370"/>
              <a:gd name="T76" fmla="*/ 159 w 279"/>
              <a:gd name="T77" fmla="*/ 173 h 370"/>
              <a:gd name="T78" fmla="*/ 177 w 279"/>
              <a:gd name="T79" fmla="*/ 189 h 370"/>
              <a:gd name="T80" fmla="*/ 192 w 279"/>
              <a:gd name="T81" fmla="*/ 208 h 370"/>
              <a:gd name="T82" fmla="*/ 181 w 279"/>
              <a:gd name="T83" fmla="*/ 285 h 370"/>
              <a:gd name="T84" fmla="*/ 185 w 279"/>
              <a:gd name="T85" fmla="*/ 305 h 370"/>
              <a:gd name="T86" fmla="*/ 203 w 279"/>
              <a:gd name="T87" fmla="*/ 308 h 370"/>
              <a:gd name="T88" fmla="*/ 218 w 279"/>
              <a:gd name="T89" fmla="*/ 313 h 370"/>
              <a:gd name="T90" fmla="*/ 200 w 279"/>
              <a:gd name="T91" fmla="*/ 328 h 370"/>
              <a:gd name="T92" fmla="*/ 214 w 279"/>
              <a:gd name="T93" fmla="*/ 325 h 370"/>
              <a:gd name="T94" fmla="*/ 223 w 279"/>
              <a:gd name="T95" fmla="*/ 330 h 370"/>
              <a:gd name="T96" fmla="*/ 216 w 279"/>
              <a:gd name="T97" fmla="*/ 343 h 370"/>
              <a:gd name="T98" fmla="*/ 197 w 279"/>
              <a:gd name="T99" fmla="*/ 348 h 370"/>
              <a:gd name="T100" fmla="*/ 176 w 279"/>
              <a:gd name="T101" fmla="*/ 353 h 370"/>
              <a:gd name="T102" fmla="*/ 149 w 279"/>
              <a:gd name="T103" fmla="*/ 33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9" h="370">
                <a:moveTo>
                  <a:pt x="149" y="338"/>
                </a:moveTo>
                <a:cubicBezTo>
                  <a:pt x="149" y="338"/>
                  <a:pt x="133" y="330"/>
                  <a:pt x="140" y="315"/>
                </a:cubicBezTo>
                <a:cubicBezTo>
                  <a:pt x="140" y="315"/>
                  <a:pt x="139" y="245"/>
                  <a:pt x="135" y="238"/>
                </a:cubicBezTo>
                <a:cubicBezTo>
                  <a:pt x="135" y="238"/>
                  <a:pt x="74" y="285"/>
                  <a:pt x="24" y="276"/>
                </a:cubicBezTo>
                <a:cubicBezTo>
                  <a:pt x="24" y="276"/>
                  <a:pt x="0" y="264"/>
                  <a:pt x="2" y="239"/>
                </a:cubicBezTo>
                <a:cubicBezTo>
                  <a:pt x="4" y="213"/>
                  <a:pt x="5" y="217"/>
                  <a:pt x="8" y="206"/>
                </a:cubicBezTo>
                <a:cubicBezTo>
                  <a:pt x="12" y="195"/>
                  <a:pt x="10" y="179"/>
                  <a:pt x="23" y="162"/>
                </a:cubicBezTo>
                <a:cubicBezTo>
                  <a:pt x="36" y="145"/>
                  <a:pt x="77" y="81"/>
                  <a:pt x="107" y="61"/>
                </a:cubicBezTo>
                <a:cubicBezTo>
                  <a:pt x="107" y="61"/>
                  <a:pt x="105" y="10"/>
                  <a:pt x="127" y="5"/>
                </a:cubicBezTo>
                <a:cubicBezTo>
                  <a:pt x="127" y="5"/>
                  <a:pt x="184" y="0"/>
                  <a:pt x="173" y="40"/>
                </a:cubicBezTo>
                <a:cubicBezTo>
                  <a:pt x="173" y="40"/>
                  <a:pt x="174" y="55"/>
                  <a:pt x="169" y="57"/>
                </a:cubicBezTo>
                <a:cubicBezTo>
                  <a:pt x="169" y="57"/>
                  <a:pt x="176" y="77"/>
                  <a:pt x="163" y="75"/>
                </a:cubicBezTo>
                <a:cubicBezTo>
                  <a:pt x="163" y="75"/>
                  <a:pt x="149" y="94"/>
                  <a:pt x="135" y="89"/>
                </a:cubicBezTo>
                <a:cubicBezTo>
                  <a:pt x="133" y="93"/>
                  <a:pt x="133" y="93"/>
                  <a:pt x="133" y="93"/>
                </a:cubicBezTo>
                <a:cubicBezTo>
                  <a:pt x="133" y="93"/>
                  <a:pt x="142" y="99"/>
                  <a:pt x="145" y="107"/>
                </a:cubicBezTo>
                <a:cubicBezTo>
                  <a:pt x="145" y="107"/>
                  <a:pt x="152" y="112"/>
                  <a:pt x="161" y="110"/>
                </a:cubicBezTo>
                <a:cubicBezTo>
                  <a:pt x="170" y="109"/>
                  <a:pt x="202" y="112"/>
                  <a:pt x="210" y="113"/>
                </a:cubicBezTo>
                <a:cubicBezTo>
                  <a:pt x="219" y="113"/>
                  <a:pt x="229" y="114"/>
                  <a:pt x="233" y="108"/>
                </a:cubicBezTo>
                <a:cubicBezTo>
                  <a:pt x="237" y="103"/>
                  <a:pt x="241" y="95"/>
                  <a:pt x="248" y="93"/>
                </a:cubicBezTo>
                <a:cubicBezTo>
                  <a:pt x="255" y="91"/>
                  <a:pt x="261" y="91"/>
                  <a:pt x="261" y="91"/>
                </a:cubicBezTo>
                <a:cubicBezTo>
                  <a:pt x="261" y="91"/>
                  <a:pt x="279" y="102"/>
                  <a:pt x="268" y="102"/>
                </a:cubicBezTo>
                <a:cubicBezTo>
                  <a:pt x="268" y="102"/>
                  <a:pt x="271" y="111"/>
                  <a:pt x="268" y="115"/>
                </a:cubicBezTo>
                <a:cubicBezTo>
                  <a:pt x="265" y="118"/>
                  <a:pt x="258" y="122"/>
                  <a:pt x="256" y="122"/>
                </a:cubicBezTo>
                <a:cubicBezTo>
                  <a:pt x="254" y="121"/>
                  <a:pt x="254" y="117"/>
                  <a:pt x="254" y="117"/>
                </a:cubicBezTo>
                <a:cubicBezTo>
                  <a:pt x="254" y="117"/>
                  <a:pt x="245" y="126"/>
                  <a:pt x="239" y="127"/>
                </a:cubicBezTo>
                <a:cubicBezTo>
                  <a:pt x="233" y="129"/>
                  <a:pt x="204" y="135"/>
                  <a:pt x="203" y="135"/>
                </a:cubicBezTo>
                <a:cubicBezTo>
                  <a:pt x="203" y="135"/>
                  <a:pt x="205" y="141"/>
                  <a:pt x="224" y="137"/>
                </a:cubicBezTo>
                <a:cubicBezTo>
                  <a:pt x="224" y="137"/>
                  <a:pt x="234" y="130"/>
                  <a:pt x="243" y="138"/>
                </a:cubicBezTo>
                <a:cubicBezTo>
                  <a:pt x="254" y="147"/>
                  <a:pt x="254" y="147"/>
                  <a:pt x="254" y="147"/>
                </a:cubicBezTo>
                <a:cubicBezTo>
                  <a:pt x="254" y="147"/>
                  <a:pt x="254" y="155"/>
                  <a:pt x="253" y="155"/>
                </a:cubicBezTo>
                <a:cubicBezTo>
                  <a:pt x="253" y="155"/>
                  <a:pt x="247" y="167"/>
                  <a:pt x="241" y="168"/>
                </a:cubicBezTo>
                <a:cubicBezTo>
                  <a:pt x="241" y="168"/>
                  <a:pt x="230" y="165"/>
                  <a:pt x="227" y="162"/>
                </a:cubicBezTo>
                <a:cubicBezTo>
                  <a:pt x="227" y="162"/>
                  <a:pt x="217" y="161"/>
                  <a:pt x="214" y="159"/>
                </a:cubicBezTo>
                <a:cubicBezTo>
                  <a:pt x="212" y="156"/>
                  <a:pt x="202" y="157"/>
                  <a:pt x="195" y="157"/>
                </a:cubicBezTo>
                <a:cubicBezTo>
                  <a:pt x="188" y="157"/>
                  <a:pt x="161" y="158"/>
                  <a:pt x="157" y="156"/>
                </a:cubicBezTo>
                <a:cubicBezTo>
                  <a:pt x="152" y="155"/>
                  <a:pt x="147" y="150"/>
                  <a:pt x="147" y="150"/>
                </a:cubicBezTo>
                <a:cubicBezTo>
                  <a:pt x="147" y="150"/>
                  <a:pt x="135" y="153"/>
                  <a:pt x="126" y="143"/>
                </a:cubicBezTo>
                <a:cubicBezTo>
                  <a:pt x="126" y="143"/>
                  <a:pt x="113" y="180"/>
                  <a:pt x="98" y="190"/>
                </a:cubicBezTo>
                <a:cubicBezTo>
                  <a:pt x="98" y="190"/>
                  <a:pt x="143" y="168"/>
                  <a:pt x="159" y="173"/>
                </a:cubicBezTo>
                <a:cubicBezTo>
                  <a:pt x="159" y="173"/>
                  <a:pt x="177" y="182"/>
                  <a:pt x="177" y="189"/>
                </a:cubicBezTo>
                <a:cubicBezTo>
                  <a:pt x="177" y="189"/>
                  <a:pt x="192" y="196"/>
                  <a:pt x="192" y="208"/>
                </a:cubicBezTo>
                <a:cubicBezTo>
                  <a:pt x="192" y="208"/>
                  <a:pt x="187" y="267"/>
                  <a:pt x="181" y="285"/>
                </a:cubicBezTo>
                <a:cubicBezTo>
                  <a:pt x="175" y="304"/>
                  <a:pt x="179" y="304"/>
                  <a:pt x="185" y="305"/>
                </a:cubicBezTo>
                <a:cubicBezTo>
                  <a:pt x="191" y="305"/>
                  <a:pt x="198" y="311"/>
                  <a:pt x="203" y="308"/>
                </a:cubicBezTo>
                <a:cubicBezTo>
                  <a:pt x="208" y="305"/>
                  <a:pt x="222" y="300"/>
                  <a:pt x="218" y="313"/>
                </a:cubicBezTo>
                <a:cubicBezTo>
                  <a:pt x="200" y="328"/>
                  <a:pt x="200" y="328"/>
                  <a:pt x="200" y="328"/>
                </a:cubicBezTo>
                <a:cubicBezTo>
                  <a:pt x="200" y="328"/>
                  <a:pt x="210" y="328"/>
                  <a:pt x="214" y="325"/>
                </a:cubicBezTo>
                <a:cubicBezTo>
                  <a:pt x="218" y="322"/>
                  <a:pt x="226" y="321"/>
                  <a:pt x="223" y="330"/>
                </a:cubicBezTo>
                <a:cubicBezTo>
                  <a:pt x="220" y="338"/>
                  <a:pt x="220" y="340"/>
                  <a:pt x="216" y="343"/>
                </a:cubicBezTo>
                <a:cubicBezTo>
                  <a:pt x="212" y="345"/>
                  <a:pt x="203" y="347"/>
                  <a:pt x="197" y="348"/>
                </a:cubicBezTo>
                <a:cubicBezTo>
                  <a:pt x="191" y="348"/>
                  <a:pt x="180" y="350"/>
                  <a:pt x="176" y="353"/>
                </a:cubicBezTo>
                <a:cubicBezTo>
                  <a:pt x="172" y="357"/>
                  <a:pt x="141" y="370"/>
                  <a:pt x="149" y="338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7" name="îŝļíḋe"/>
          <p:cNvSpPr/>
          <p:nvPr/>
        </p:nvSpPr>
        <p:spPr bwMode="auto">
          <a:xfrm>
            <a:off x="1637920" y="3297613"/>
            <a:ext cx="131235" cy="242231"/>
          </a:xfrm>
          <a:custGeom>
            <a:avLst/>
            <a:gdLst>
              <a:gd name="T0" fmla="*/ 215 w 255"/>
              <a:gd name="T1" fmla="*/ 443 h 469"/>
              <a:gd name="T2" fmla="*/ 237 w 255"/>
              <a:gd name="T3" fmla="*/ 444 h 469"/>
              <a:gd name="T4" fmla="*/ 240 w 255"/>
              <a:gd name="T5" fmla="*/ 450 h 469"/>
              <a:gd name="T6" fmla="*/ 227 w 255"/>
              <a:gd name="T7" fmla="*/ 461 h 469"/>
              <a:gd name="T8" fmla="*/ 196 w 255"/>
              <a:gd name="T9" fmla="*/ 464 h 469"/>
              <a:gd name="T10" fmla="*/ 178 w 255"/>
              <a:gd name="T11" fmla="*/ 466 h 469"/>
              <a:gd name="T12" fmla="*/ 160 w 255"/>
              <a:gd name="T13" fmla="*/ 450 h 469"/>
              <a:gd name="T14" fmla="*/ 157 w 255"/>
              <a:gd name="T15" fmla="*/ 401 h 469"/>
              <a:gd name="T16" fmla="*/ 151 w 255"/>
              <a:gd name="T17" fmla="*/ 340 h 469"/>
              <a:gd name="T18" fmla="*/ 141 w 255"/>
              <a:gd name="T19" fmla="*/ 320 h 469"/>
              <a:gd name="T20" fmla="*/ 23 w 255"/>
              <a:gd name="T21" fmla="*/ 277 h 469"/>
              <a:gd name="T22" fmla="*/ 19 w 255"/>
              <a:gd name="T23" fmla="*/ 220 h 469"/>
              <a:gd name="T24" fmla="*/ 31 w 255"/>
              <a:gd name="T25" fmla="*/ 185 h 469"/>
              <a:gd name="T26" fmla="*/ 60 w 255"/>
              <a:gd name="T27" fmla="*/ 125 h 469"/>
              <a:gd name="T28" fmla="*/ 111 w 255"/>
              <a:gd name="T29" fmla="*/ 51 h 469"/>
              <a:gd name="T30" fmla="*/ 134 w 255"/>
              <a:gd name="T31" fmla="*/ 2 h 469"/>
              <a:gd name="T32" fmla="*/ 177 w 255"/>
              <a:gd name="T33" fmla="*/ 16 h 469"/>
              <a:gd name="T34" fmla="*/ 174 w 255"/>
              <a:gd name="T35" fmla="*/ 54 h 469"/>
              <a:gd name="T36" fmla="*/ 165 w 255"/>
              <a:gd name="T37" fmla="*/ 72 h 469"/>
              <a:gd name="T38" fmla="*/ 142 w 255"/>
              <a:gd name="T39" fmla="*/ 87 h 469"/>
              <a:gd name="T40" fmla="*/ 143 w 255"/>
              <a:gd name="T41" fmla="*/ 97 h 469"/>
              <a:gd name="T42" fmla="*/ 165 w 255"/>
              <a:gd name="T43" fmla="*/ 111 h 469"/>
              <a:gd name="T44" fmla="*/ 173 w 255"/>
              <a:gd name="T45" fmla="*/ 115 h 469"/>
              <a:gd name="T46" fmla="*/ 181 w 255"/>
              <a:gd name="T47" fmla="*/ 133 h 469"/>
              <a:gd name="T48" fmla="*/ 172 w 255"/>
              <a:gd name="T49" fmla="*/ 146 h 469"/>
              <a:gd name="T50" fmla="*/ 163 w 255"/>
              <a:gd name="T51" fmla="*/ 146 h 469"/>
              <a:gd name="T52" fmla="*/ 155 w 255"/>
              <a:gd name="T53" fmla="*/ 140 h 469"/>
              <a:gd name="T54" fmla="*/ 144 w 255"/>
              <a:gd name="T55" fmla="*/ 128 h 469"/>
              <a:gd name="T56" fmla="*/ 139 w 255"/>
              <a:gd name="T57" fmla="*/ 130 h 469"/>
              <a:gd name="T58" fmla="*/ 100 w 255"/>
              <a:gd name="T59" fmla="*/ 204 h 469"/>
              <a:gd name="T60" fmla="*/ 88 w 255"/>
              <a:gd name="T61" fmla="*/ 238 h 469"/>
              <a:gd name="T62" fmla="*/ 178 w 255"/>
              <a:gd name="T63" fmla="*/ 280 h 469"/>
              <a:gd name="T64" fmla="*/ 194 w 255"/>
              <a:gd name="T65" fmla="*/ 309 h 469"/>
              <a:gd name="T66" fmla="*/ 200 w 255"/>
              <a:gd name="T67" fmla="*/ 394 h 469"/>
              <a:gd name="T68" fmla="*/ 213 w 255"/>
              <a:gd name="T69" fmla="*/ 421 h 469"/>
              <a:gd name="T70" fmla="*/ 237 w 255"/>
              <a:gd name="T71" fmla="*/ 423 h 469"/>
              <a:gd name="T72" fmla="*/ 254 w 255"/>
              <a:gd name="T73" fmla="*/ 424 h 469"/>
              <a:gd name="T74" fmla="*/ 245 w 255"/>
              <a:gd name="T75" fmla="*/ 437 h 469"/>
              <a:gd name="T76" fmla="*/ 230 w 255"/>
              <a:gd name="T77" fmla="*/ 441 h 469"/>
              <a:gd name="T78" fmla="*/ 215 w 255"/>
              <a:gd name="T79" fmla="*/ 443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5" h="469">
                <a:moveTo>
                  <a:pt x="215" y="443"/>
                </a:moveTo>
                <a:cubicBezTo>
                  <a:pt x="215" y="443"/>
                  <a:pt x="219" y="451"/>
                  <a:pt x="237" y="444"/>
                </a:cubicBezTo>
                <a:cubicBezTo>
                  <a:pt x="237" y="444"/>
                  <a:pt x="243" y="446"/>
                  <a:pt x="240" y="450"/>
                </a:cubicBezTo>
                <a:cubicBezTo>
                  <a:pt x="240" y="450"/>
                  <a:pt x="238" y="461"/>
                  <a:pt x="227" y="461"/>
                </a:cubicBezTo>
                <a:cubicBezTo>
                  <a:pt x="227" y="461"/>
                  <a:pt x="211" y="468"/>
                  <a:pt x="196" y="464"/>
                </a:cubicBezTo>
                <a:cubicBezTo>
                  <a:pt x="196" y="464"/>
                  <a:pt x="184" y="465"/>
                  <a:pt x="178" y="466"/>
                </a:cubicBezTo>
                <a:cubicBezTo>
                  <a:pt x="172" y="467"/>
                  <a:pt x="157" y="469"/>
                  <a:pt x="160" y="450"/>
                </a:cubicBezTo>
                <a:cubicBezTo>
                  <a:pt x="163" y="430"/>
                  <a:pt x="160" y="408"/>
                  <a:pt x="157" y="401"/>
                </a:cubicBezTo>
                <a:cubicBezTo>
                  <a:pt x="155" y="394"/>
                  <a:pt x="148" y="354"/>
                  <a:pt x="151" y="340"/>
                </a:cubicBezTo>
                <a:cubicBezTo>
                  <a:pt x="151" y="340"/>
                  <a:pt x="154" y="324"/>
                  <a:pt x="141" y="320"/>
                </a:cubicBezTo>
                <a:cubicBezTo>
                  <a:pt x="141" y="320"/>
                  <a:pt x="30" y="289"/>
                  <a:pt x="23" y="277"/>
                </a:cubicBezTo>
                <a:cubicBezTo>
                  <a:pt x="23" y="277"/>
                  <a:pt x="0" y="251"/>
                  <a:pt x="19" y="220"/>
                </a:cubicBezTo>
                <a:cubicBezTo>
                  <a:pt x="19" y="220"/>
                  <a:pt x="29" y="194"/>
                  <a:pt x="31" y="185"/>
                </a:cubicBezTo>
                <a:cubicBezTo>
                  <a:pt x="32" y="176"/>
                  <a:pt x="57" y="135"/>
                  <a:pt x="60" y="125"/>
                </a:cubicBezTo>
                <a:cubicBezTo>
                  <a:pt x="62" y="115"/>
                  <a:pt x="80" y="49"/>
                  <a:pt x="111" y="51"/>
                </a:cubicBezTo>
                <a:cubicBezTo>
                  <a:pt x="111" y="51"/>
                  <a:pt x="111" y="4"/>
                  <a:pt x="134" y="2"/>
                </a:cubicBezTo>
                <a:cubicBezTo>
                  <a:pt x="134" y="2"/>
                  <a:pt x="168" y="0"/>
                  <a:pt x="177" y="16"/>
                </a:cubicBezTo>
                <a:cubicBezTo>
                  <a:pt x="177" y="16"/>
                  <a:pt x="191" y="45"/>
                  <a:pt x="174" y="54"/>
                </a:cubicBezTo>
                <a:cubicBezTo>
                  <a:pt x="174" y="54"/>
                  <a:pt x="179" y="74"/>
                  <a:pt x="165" y="72"/>
                </a:cubicBezTo>
                <a:cubicBezTo>
                  <a:pt x="165" y="72"/>
                  <a:pt x="151" y="92"/>
                  <a:pt x="142" y="87"/>
                </a:cubicBezTo>
                <a:cubicBezTo>
                  <a:pt x="142" y="87"/>
                  <a:pt x="139" y="94"/>
                  <a:pt x="143" y="97"/>
                </a:cubicBezTo>
                <a:cubicBezTo>
                  <a:pt x="147" y="101"/>
                  <a:pt x="148" y="107"/>
                  <a:pt x="165" y="111"/>
                </a:cubicBezTo>
                <a:cubicBezTo>
                  <a:pt x="173" y="115"/>
                  <a:pt x="173" y="115"/>
                  <a:pt x="173" y="115"/>
                </a:cubicBezTo>
                <a:cubicBezTo>
                  <a:pt x="173" y="115"/>
                  <a:pt x="181" y="131"/>
                  <a:pt x="181" y="133"/>
                </a:cubicBezTo>
                <a:cubicBezTo>
                  <a:pt x="181" y="136"/>
                  <a:pt x="174" y="144"/>
                  <a:pt x="172" y="146"/>
                </a:cubicBezTo>
                <a:cubicBezTo>
                  <a:pt x="169" y="149"/>
                  <a:pt x="163" y="146"/>
                  <a:pt x="163" y="146"/>
                </a:cubicBezTo>
                <a:cubicBezTo>
                  <a:pt x="163" y="146"/>
                  <a:pt x="153" y="147"/>
                  <a:pt x="155" y="140"/>
                </a:cubicBezTo>
                <a:cubicBezTo>
                  <a:pt x="155" y="140"/>
                  <a:pt x="143" y="134"/>
                  <a:pt x="144" y="128"/>
                </a:cubicBezTo>
                <a:cubicBezTo>
                  <a:pt x="139" y="130"/>
                  <a:pt x="139" y="130"/>
                  <a:pt x="139" y="130"/>
                </a:cubicBezTo>
                <a:cubicBezTo>
                  <a:pt x="139" y="130"/>
                  <a:pt x="120" y="193"/>
                  <a:pt x="100" y="204"/>
                </a:cubicBezTo>
                <a:cubicBezTo>
                  <a:pt x="100" y="204"/>
                  <a:pt x="84" y="230"/>
                  <a:pt x="88" y="238"/>
                </a:cubicBezTo>
                <a:cubicBezTo>
                  <a:pt x="88" y="238"/>
                  <a:pt x="160" y="258"/>
                  <a:pt x="178" y="280"/>
                </a:cubicBezTo>
                <a:cubicBezTo>
                  <a:pt x="178" y="280"/>
                  <a:pt x="196" y="285"/>
                  <a:pt x="194" y="309"/>
                </a:cubicBezTo>
                <a:cubicBezTo>
                  <a:pt x="194" y="309"/>
                  <a:pt x="199" y="368"/>
                  <a:pt x="200" y="394"/>
                </a:cubicBezTo>
                <a:cubicBezTo>
                  <a:pt x="200" y="394"/>
                  <a:pt x="206" y="417"/>
                  <a:pt x="213" y="421"/>
                </a:cubicBezTo>
                <a:cubicBezTo>
                  <a:pt x="220" y="425"/>
                  <a:pt x="231" y="425"/>
                  <a:pt x="237" y="423"/>
                </a:cubicBezTo>
                <a:cubicBezTo>
                  <a:pt x="242" y="421"/>
                  <a:pt x="255" y="411"/>
                  <a:pt x="254" y="424"/>
                </a:cubicBezTo>
                <a:cubicBezTo>
                  <a:pt x="254" y="424"/>
                  <a:pt x="249" y="434"/>
                  <a:pt x="245" y="437"/>
                </a:cubicBezTo>
                <a:cubicBezTo>
                  <a:pt x="240" y="439"/>
                  <a:pt x="236" y="441"/>
                  <a:pt x="230" y="441"/>
                </a:cubicBezTo>
                <a:cubicBezTo>
                  <a:pt x="225" y="441"/>
                  <a:pt x="215" y="443"/>
                  <a:pt x="215" y="443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defTabSz="457200"/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28" name="îšlîḑé"/>
          <p:cNvSpPr/>
          <p:nvPr/>
        </p:nvSpPr>
        <p:spPr bwMode="auto">
          <a:xfrm>
            <a:off x="1903803" y="3382366"/>
            <a:ext cx="114477" cy="285976"/>
          </a:xfrm>
          <a:custGeom>
            <a:avLst/>
            <a:gdLst>
              <a:gd name="T0" fmla="*/ 218 w 222"/>
              <a:gd name="T1" fmla="*/ 499 h 554"/>
              <a:gd name="T2" fmla="*/ 205 w 222"/>
              <a:gd name="T3" fmla="*/ 501 h 554"/>
              <a:gd name="T4" fmla="*/ 177 w 222"/>
              <a:gd name="T5" fmla="*/ 497 h 554"/>
              <a:gd name="T6" fmla="*/ 165 w 222"/>
              <a:gd name="T7" fmla="*/ 449 h 554"/>
              <a:gd name="T8" fmla="*/ 160 w 222"/>
              <a:gd name="T9" fmla="*/ 383 h 554"/>
              <a:gd name="T10" fmla="*/ 156 w 222"/>
              <a:gd name="T11" fmla="*/ 352 h 554"/>
              <a:gd name="T12" fmla="*/ 128 w 222"/>
              <a:gd name="T13" fmla="*/ 281 h 554"/>
              <a:gd name="T14" fmla="*/ 113 w 222"/>
              <a:gd name="T15" fmla="*/ 249 h 554"/>
              <a:gd name="T16" fmla="*/ 121 w 222"/>
              <a:gd name="T17" fmla="*/ 188 h 554"/>
              <a:gd name="T18" fmla="*/ 125 w 222"/>
              <a:gd name="T19" fmla="*/ 90 h 554"/>
              <a:gd name="T20" fmla="*/ 126 w 222"/>
              <a:gd name="T21" fmla="*/ 83 h 554"/>
              <a:gd name="T22" fmla="*/ 147 w 222"/>
              <a:gd name="T23" fmla="*/ 69 h 554"/>
              <a:gd name="T24" fmla="*/ 156 w 222"/>
              <a:gd name="T25" fmla="*/ 52 h 554"/>
              <a:gd name="T26" fmla="*/ 160 w 222"/>
              <a:gd name="T27" fmla="*/ 35 h 554"/>
              <a:gd name="T28" fmla="*/ 116 w 222"/>
              <a:gd name="T29" fmla="*/ 1 h 554"/>
              <a:gd name="T30" fmla="*/ 97 w 222"/>
              <a:gd name="T31" fmla="*/ 53 h 554"/>
              <a:gd name="T32" fmla="*/ 88 w 222"/>
              <a:gd name="T33" fmla="*/ 60 h 554"/>
              <a:gd name="T34" fmla="*/ 34 w 222"/>
              <a:gd name="T35" fmla="*/ 62 h 554"/>
              <a:gd name="T36" fmla="*/ 12 w 222"/>
              <a:gd name="T37" fmla="*/ 65 h 554"/>
              <a:gd name="T38" fmla="*/ 6 w 222"/>
              <a:gd name="T39" fmla="*/ 86 h 554"/>
              <a:gd name="T40" fmla="*/ 38 w 222"/>
              <a:gd name="T41" fmla="*/ 153 h 554"/>
              <a:gd name="T42" fmla="*/ 53 w 222"/>
              <a:gd name="T43" fmla="*/ 179 h 554"/>
              <a:gd name="T44" fmla="*/ 52 w 222"/>
              <a:gd name="T45" fmla="*/ 230 h 554"/>
              <a:gd name="T46" fmla="*/ 62 w 222"/>
              <a:gd name="T47" fmla="*/ 303 h 554"/>
              <a:gd name="T48" fmla="*/ 89 w 222"/>
              <a:gd name="T49" fmla="*/ 365 h 554"/>
              <a:gd name="T50" fmla="*/ 100 w 222"/>
              <a:gd name="T51" fmla="*/ 407 h 554"/>
              <a:gd name="T52" fmla="*/ 107 w 222"/>
              <a:gd name="T53" fmla="*/ 483 h 554"/>
              <a:gd name="T54" fmla="*/ 110 w 222"/>
              <a:gd name="T55" fmla="*/ 516 h 554"/>
              <a:gd name="T56" fmla="*/ 124 w 222"/>
              <a:gd name="T57" fmla="*/ 541 h 554"/>
              <a:gd name="T58" fmla="*/ 147 w 222"/>
              <a:gd name="T59" fmla="*/ 549 h 554"/>
              <a:gd name="T60" fmla="*/ 164 w 222"/>
              <a:gd name="T61" fmla="*/ 549 h 554"/>
              <a:gd name="T62" fmla="*/ 184 w 222"/>
              <a:gd name="T63" fmla="*/ 544 h 554"/>
              <a:gd name="T64" fmla="*/ 180 w 222"/>
              <a:gd name="T65" fmla="*/ 534 h 554"/>
              <a:gd name="T66" fmla="*/ 161 w 222"/>
              <a:gd name="T67" fmla="*/ 526 h 554"/>
              <a:gd name="T68" fmla="*/ 169 w 222"/>
              <a:gd name="T69" fmla="*/ 520 h 554"/>
              <a:gd name="T70" fmla="*/ 190 w 222"/>
              <a:gd name="T71" fmla="*/ 519 h 554"/>
              <a:gd name="T72" fmla="*/ 215 w 222"/>
              <a:gd name="T73" fmla="*/ 511 h 554"/>
              <a:gd name="T74" fmla="*/ 218 w 222"/>
              <a:gd name="T75" fmla="*/ 499 h 554"/>
              <a:gd name="T76" fmla="*/ 43 w 222"/>
              <a:gd name="T77" fmla="*/ 102 h 554"/>
              <a:gd name="T78" fmla="*/ 50 w 222"/>
              <a:gd name="T79" fmla="*/ 106 h 554"/>
              <a:gd name="T80" fmla="*/ 54 w 222"/>
              <a:gd name="T81" fmla="*/ 140 h 554"/>
              <a:gd name="T82" fmla="*/ 43 w 222"/>
              <a:gd name="T83" fmla="*/ 102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2" h="554">
                <a:moveTo>
                  <a:pt x="218" y="499"/>
                </a:moveTo>
                <a:cubicBezTo>
                  <a:pt x="219" y="495"/>
                  <a:pt x="210" y="498"/>
                  <a:pt x="205" y="501"/>
                </a:cubicBezTo>
                <a:cubicBezTo>
                  <a:pt x="201" y="503"/>
                  <a:pt x="177" y="497"/>
                  <a:pt x="177" y="497"/>
                </a:cubicBezTo>
                <a:cubicBezTo>
                  <a:pt x="171" y="493"/>
                  <a:pt x="164" y="471"/>
                  <a:pt x="165" y="449"/>
                </a:cubicBezTo>
                <a:cubicBezTo>
                  <a:pt x="165" y="428"/>
                  <a:pt x="160" y="383"/>
                  <a:pt x="160" y="383"/>
                </a:cubicBezTo>
                <a:cubicBezTo>
                  <a:pt x="165" y="368"/>
                  <a:pt x="156" y="352"/>
                  <a:pt x="156" y="352"/>
                </a:cubicBezTo>
                <a:cubicBezTo>
                  <a:pt x="153" y="329"/>
                  <a:pt x="133" y="293"/>
                  <a:pt x="128" y="281"/>
                </a:cubicBezTo>
                <a:cubicBezTo>
                  <a:pt x="122" y="268"/>
                  <a:pt x="115" y="263"/>
                  <a:pt x="113" y="249"/>
                </a:cubicBezTo>
                <a:cubicBezTo>
                  <a:pt x="112" y="235"/>
                  <a:pt x="121" y="188"/>
                  <a:pt x="121" y="188"/>
                </a:cubicBezTo>
                <a:cubicBezTo>
                  <a:pt x="133" y="155"/>
                  <a:pt x="125" y="94"/>
                  <a:pt x="125" y="90"/>
                </a:cubicBezTo>
                <a:cubicBezTo>
                  <a:pt x="124" y="85"/>
                  <a:pt x="126" y="83"/>
                  <a:pt x="126" y="83"/>
                </a:cubicBezTo>
                <a:cubicBezTo>
                  <a:pt x="137" y="90"/>
                  <a:pt x="147" y="69"/>
                  <a:pt x="147" y="69"/>
                </a:cubicBezTo>
                <a:cubicBezTo>
                  <a:pt x="161" y="71"/>
                  <a:pt x="156" y="52"/>
                  <a:pt x="156" y="52"/>
                </a:cubicBezTo>
                <a:cubicBezTo>
                  <a:pt x="163" y="45"/>
                  <a:pt x="160" y="35"/>
                  <a:pt x="160" y="35"/>
                </a:cubicBezTo>
                <a:cubicBezTo>
                  <a:pt x="168" y="0"/>
                  <a:pt x="116" y="1"/>
                  <a:pt x="116" y="1"/>
                </a:cubicBezTo>
                <a:cubicBezTo>
                  <a:pt x="88" y="6"/>
                  <a:pt x="97" y="53"/>
                  <a:pt x="97" y="53"/>
                </a:cubicBezTo>
                <a:cubicBezTo>
                  <a:pt x="97" y="56"/>
                  <a:pt x="88" y="60"/>
                  <a:pt x="88" y="60"/>
                </a:cubicBezTo>
                <a:cubicBezTo>
                  <a:pt x="61" y="51"/>
                  <a:pt x="34" y="62"/>
                  <a:pt x="34" y="62"/>
                </a:cubicBezTo>
                <a:cubicBezTo>
                  <a:pt x="27" y="65"/>
                  <a:pt x="12" y="65"/>
                  <a:pt x="12" y="65"/>
                </a:cubicBezTo>
                <a:cubicBezTo>
                  <a:pt x="0" y="68"/>
                  <a:pt x="6" y="86"/>
                  <a:pt x="6" y="86"/>
                </a:cubicBezTo>
                <a:cubicBezTo>
                  <a:pt x="4" y="109"/>
                  <a:pt x="38" y="153"/>
                  <a:pt x="38" y="153"/>
                </a:cubicBezTo>
                <a:cubicBezTo>
                  <a:pt x="38" y="163"/>
                  <a:pt x="53" y="179"/>
                  <a:pt x="53" y="179"/>
                </a:cubicBezTo>
                <a:cubicBezTo>
                  <a:pt x="54" y="186"/>
                  <a:pt x="52" y="230"/>
                  <a:pt x="52" y="230"/>
                </a:cubicBezTo>
                <a:cubicBezTo>
                  <a:pt x="23" y="271"/>
                  <a:pt x="59" y="297"/>
                  <a:pt x="62" y="303"/>
                </a:cubicBezTo>
                <a:cubicBezTo>
                  <a:pt x="65" y="309"/>
                  <a:pt x="84" y="355"/>
                  <a:pt x="89" y="365"/>
                </a:cubicBezTo>
                <a:cubicBezTo>
                  <a:pt x="93" y="375"/>
                  <a:pt x="104" y="370"/>
                  <a:pt x="100" y="407"/>
                </a:cubicBezTo>
                <a:cubicBezTo>
                  <a:pt x="96" y="444"/>
                  <a:pt x="105" y="472"/>
                  <a:pt x="107" y="483"/>
                </a:cubicBezTo>
                <a:cubicBezTo>
                  <a:pt x="109" y="493"/>
                  <a:pt x="117" y="492"/>
                  <a:pt x="110" y="516"/>
                </a:cubicBezTo>
                <a:cubicBezTo>
                  <a:pt x="102" y="540"/>
                  <a:pt x="116" y="539"/>
                  <a:pt x="124" y="541"/>
                </a:cubicBezTo>
                <a:cubicBezTo>
                  <a:pt x="132" y="543"/>
                  <a:pt x="140" y="543"/>
                  <a:pt x="147" y="549"/>
                </a:cubicBezTo>
                <a:cubicBezTo>
                  <a:pt x="153" y="554"/>
                  <a:pt x="158" y="551"/>
                  <a:pt x="164" y="549"/>
                </a:cubicBezTo>
                <a:cubicBezTo>
                  <a:pt x="171" y="548"/>
                  <a:pt x="184" y="544"/>
                  <a:pt x="184" y="544"/>
                </a:cubicBezTo>
                <a:cubicBezTo>
                  <a:pt x="192" y="541"/>
                  <a:pt x="185" y="533"/>
                  <a:pt x="180" y="534"/>
                </a:cubicBezTo>
                <a:cubicBezTo>
                  <a:pt x="174" y="535"/>
                  <a:pt x="161" y="526"/>
                  <a:pt x="161" y="526"/>
                </a:cubicBezTo>
                <a:cubicBezTo>
                  <a:pt x="161" y="526"/>
                  <a:pt x="165" y="522"/>
                  <a:pt x="169" y="520"/>
                </a:cubicBezTo>
                <a:cubicBezTo>
                  <a:pt x="172" y="517"/>
                  <a:pt x="181" y="519"/>
                  <a:pt x="190" y="519"/>
                </a:cubicBezTo>
                <a:cubicBezTo>
                  <a:pt x="200" y="519"/>
                  <a:pt x="207" y="517"/>
                  <a:pt x="215" y="511"/>
                </a:cubicBezTo>
                <a:cubicBezTo>
                  <a:pt x="222" y="506"/>
                  <a:pt x="218" y="499"/>
                  <a:pt x="218" y="499"/>
                </a:cubicBezTo>
                <a:close/>
                <a:moveTo>
                  <a:pt x="43" y="102"/>
                </a:moveTo>
                <a:cubicBezTo>
                  <a:pt x="44" y="105"/>
                  <a:pt x="50" y="106"/>
                  <a:pt x="50" y="106"/>
                </a:cubicBezTo>
                <a:cubicBezTo>
                  <a:pt x="50" y="112"/>
                  <a:pt x="54" y="140"/>
                  <a:pt x="54" y="140"/>
                </a:cubicBezTo>
                <a:cubicBezTo>
                  <a:pt x="48" y="133"/>
                  <a:pt x="43" y="102"/>
                  <a:pt x="43" y="102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457200"/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grpSp>
        <p:nvGrpSpPr>
          <p:cNvPr id="130" name="išľîdê"/>
          <p:cNvGrpSpPr/>
          <p:nvPr/>
        </p:nvGrpSpPr>
        <p:grpSpPr>
          <a:xfrm>
            <a:off x="590343" y="3830969"/>
            <a:ext cx="1316052" cy="185081"/>
            <a:chOff x="2823248" y="5252783"/>
            <a:chExt cx="6357059" cy="89401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33" name="íśļîḋé"/>
            <p:cNvSpPr/>
            <p:nvPr/>
          </p:nvSpPr>
          <p:spPr bwMode="auto">
            <a:xfrm flipH="1">
              <a:off x="2923224" y="5252783"/>
              <a:ext cx="6111026" cy="894016"/>
            </a:xfrm>
            <a:custGeom>
              <a:avLst/>
              <a:gdLst>
                <a:gd name="connsiteX0" fmla="*/ 3666635 w 4510759"/>
                <a:gd name="connsiteY0" fmla="*/ 911 h 753521"/>
                <a:gd name="connsiteX1" fmla="*/ 0 w 4510759"/>
                <a:gd name="connsiteY1" fmla="*/ 88589 h 753521"/>
                <a:gd name="connsiteX2" fmla="*/ 0 w 4510759"/>
                <a:gd name="connsiteY2" fmla="*/ 473921 h 753521"/>
                <a:gd name="connsiteX3" fmla="*/ 0 w 4510759"/>
                <a:gd name="connsiteY3" fmla="*/ 753521 h 753521"/>
                <a:gd name="connsiteX4" fmla="*/ 4510759 w 4510759"/>
                <a:gd name="connsiteY4" fmla="*/ 753521 h 753521"/>
                <a:gd name="connsiteX5" fmla="*/ 4510759 w 4510759"/>
                <a:gd name="connsiteY5" fmla="*/ 473921 h 753521"/>
                <a:gd name="connsiteX6" fmla="*/ 4510759 w 4510759"/>
                <a:gd name="connsiteY6" fmla="*/ 88589 h 753521"/>
                <a:gd name="connsiteX7" fmla="*/ 3666635 w 4510759"/>
                <a:gd name="connsiteY7" fmla="*/ 911 h 753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10759" h="753521">
                  <a:moveTo>
                    <a:pt x="3666635" y="911"/>
                  </a:moveTo>
                  <a:cubicBezTo>
                    <a:pt x="2445090" y="-20320"/>
                    <a:pt x="1215484" y="339055"/>
                    <a:pt x="0" y="88589"/>
                  </a:cubicBezTo>
                  <a:cubicBezTo>
                    <a:pt x="0" y="217371"/>
                    <a:pt x="0" y="345139"/>
                    <a:pt x="0" y="473921"/>
                  </a:cubicBezTo>
                  <a:lnTo>
                    <a:pt x="0" y="753521"/>
                  </a:lnTo>
                  <a:lnTo>
                    <a:pt x="4510759" y="753521"/>
                  </a:lnTo>
                  <a:lnTo>
                    <a:pt x="4510759" y="473921"/>
                  </a:lnTo>
                  <a:cubicBezTo>
                    <a:pt x="4510759" y="345139"/>
                    <a:pt x="4510759" y="217371"/>
                    <a:pt x="4510759" y="88589"/>
                  </a:cubicBezTo>
                  <a:cubicBezTo>
                    <a:pt x="4229995" y="30979"/>
                    <a:pt x="3948530" y="5811"/>
                    <a:pt x="3666635" y="9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latin typeface="Arial" panose="020B0604020202020204" pitchFamily="34" charset="0"/>
                <a:ea typeface="华文楷体" panose="02010600040101010101" pitchFamily="2" charset="-122"/>
                <a:sym typeface="Arial" panose="020B0604020202020204" pitchFamily="34" charset="0"/>
              </a:endParaRPr>
            </a:p>
          </p:txBody>
        </p:sp>
        <p:sp>
          <p:nvSpPr>
            <p:cNvPr id="134" name="íSļiďê"/>
            <p:cNvSpPr/>
            <p:nvPr/>
          </p:nvSpPr>
          <p:spPr bwMode="auto">
            <a:xfrm>
              <a:off x="2823248" y="5540286"/>
              <a:ext cx="6357059" cy="606513"/>
            </a:xfrm>
            <a:custGeom>
              <a:avLst/>
              <a:gdLst>
                <a:gd name="connsiteX0" fmla="*/ 3666635 w 4510759"/>
                <a:gd name="connsiteY0" fmla="*/ 911 h 511199"/>
                <a:gd name="connsiteX1" fmla="*/ 4510759 w 4510759"/>
                <a:gd name="connsiteY1" fmla="*/ 88589 h 511199"/>
                <a:gd name="connsiteX2" fmla="*/ 4510759 w 4510759"/>
                <a:gd name="connsiteY2" fmla="*/ 473921 h 511199"/>
                <a:gd name="connsiteX3" fmla="*/ 4510759 w 4510759"/>
                <a:gd name="connsiteY3" fmla="*/ 511199 h 511199"/>
                <a:gd name="connsiteX4" fmla="*/ 0 w 4510759"/>
                <a:gd name="connsiteY4" fmla="*/ 511199 h 511199"/>
                <a:gd name="connsiteX5" fmla="*/ 0 w 4510759"/>
                <a:gd name="connsiteY5" fmla="*/ 473921 h 511199"/>
                <a:gd name="connsiteX6" fmla="*/ 0 w 4510759"/>
                <a:gd name="connsiteY6" fmla="*/ 88589 h 511199"/>
                <a:gd name="connsiteX7" fmla="*/ 3666635 w 4510759"/>
                <a:gd name="connsiteY7" fmla="*/ 911 h 51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10759" h="511199">
                  <a:moveTo>
                    <a:pt x="3666635" y="911"/>
                  </a:moveTo>
                  <a:cubicBezTo>
                    <a:pt x="3948530" y="5811"/>
                    <a:pt x="4229996" y="30979"/>
                    <a:pt x="4510759" y="88589"/>
                  </a:cubicBezTo>
                  <a:cubicBezTo>
                    <a:pt x="4510759" y="217371"/>
                    <a:pt x="4510759" y="345139"/>
                    <a:pt x="4510759" y="473921"/>
                  </a:cubicBezTo>
                  <a:lnTo>
                    <a:pt x="4510759" y="511199"/>
                  </a:lnTo>
                  <a:lnTo>
                    <a:pt x="0" y="511199"/>
                  </a:lnTo>
                  <a:lnTo>
                    <a:pt x="0" y="473921"/>
                  </a:lnTo>
                  <a:cubicBezTo>
                    <a:pt x="0" y="345139"/>
                    <a:pt x="0" y="217371"/>
                    <a:pt x="0" y="88589"/>
                  </a:cubicBezTo>
                  <a:cubicBezTo>
                    <a:pt x="1215484" y="339055"/>
                    <a:pt x="2445090" y="-20320"/>
                    <a:pt x="3666635" y="911"/>
                  </a:cubicBezTo>
                  <a:close/>
                </a:path>
              </a:pathLst>
            </a:custGeom>
            <a:grpFill/>
            <a:ln>
              <a:noFill/>
            </a:ln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>
                <a:latin typeface="Arial" panose="020B0604020202020204" pitchFamily="34" charset="0"/>
                <a:ea typeface="华文楷体" panose="02010600040101010101" pitchFamily="2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31" name="îšļíḑè"/>
          <p:cNvSpPr/>
          <p:nvPr/>
        </p:nvSpPr>
        <p:spPr>
          <a:xfrm>
            <a:off x="144892" y="3675791"/>
            <a:ext cx="570508" cy="340260"/>
          </a:xfrm>
          <a:custGeom>
            <a:avLst/>
            <a:gdLst>
              <a:gd name="connsiteX0" fmla="*/ 581343 w 3096946"/>
              <a:gd name="connsiteY0" fmla="*/ 0 h 1847063"/>
              <a:gd name="connsiteX1" fmla="*/ 1694710 w 3096946"/>
              <a:gd name="connsiteY1" fmla="*/ 49716 h 1847063"/>
              <a:gd name="connsiteX2" fmla="*/ 2001626 w 3096946"/>
              <a:gd name="connsiteY2" fmla="*/ 105397 h 1847063"/>
              <a:gd name="connsiteX3" fmla="*/ 2568893 w 3096946"/>
              <a:gd name="connsiteY3" fmla="*/ 37784 h 1847063"/>
              <a:gd name="connsiteX4" fmla="*/ 2913909 w 3096946"/>
              <a:gd name="connsiteY4" fmla="*/ 459370 h 1847063"/>
              <a:gd name="connsiteX5" fmla="*/ 2808076 w 3096946"/>
              <a:gd name="connsiteY5" fmla="*/ 701981 h 1847063"/>
              <a:gd name="connsiteX6" fmla="*/ 2901209 w 3096946"/>
              <a:gd name="connsiteY6" fmla="*/ 1075840 h 1847063"/>
              <a:gd name="connsiteX7" fmla="*/ 2880043 w 3096946"/>
              <a:gd name="connsiteY7" fmla="*/ 1485494 h 1847063"/>
              <a:gd name="connsiteX8" fmla="*/ 3095943 w 3096946"/>
              <a:gd name="connsiteY8" fmla="*/ 1640606 h 1847063"/>
              <a:gd name="connsiteX9" fmla="*/ 3096946 w 3096946"/>
              <a:gd name="connsiteY9" fmla="*/ 1847063 h 1847063"/>
              <a:gd name="connsiteX10" fmla="*/ 0 w 3096946"/>
              <a:gd name="connsiteY10" fmla="*/ 1847063 h 1847063"/>
              <a:gd name="connsiteX11" fmla="*/ 0 w 3096946"/>
              <a:gd name="connsiteY11" fmla="*/ 19995 h 1847063"/>
              <a:gd name="connsiteX12" fmla="*/ 581343 w 3096946"/>
              <a:gd name="connsiteY12" fmla="*/ 0 h 1847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096946" h="1847063">
                <a:moveTo>
                  <a:pt x="581343" y="0"/>
                </a:moveTo>
                <a:lnTo>
                  <a:pt x="1694710" y="49716"/>
                </a:lnTo>
                <a:lnTo>
                  <a:pt x="2001626" y="105397"/>
                </a:lnTo>
                <a:lnTo>
                  <a:pt x="2568893" y="37784"/>
                </a:lnTo>
                <a:lnTo>
                  <a:pt x="2913909" y="459370"/>
                </a:lnTo>
                <a:lnTo>
                  <a:pt x="2808076" y="701981"/>
                </a:lnTo>
                <a:lnTo>
                  <a:pt x="2901209" y="1075840"/>
                </a:lnTo>
                <a:lnTo>
                  <a:pt x="2880043" y="1485494"/>
                </a:lnTo>
                <a:lnTo>
                  <a:pt x="3095943" y="1640606"/>
                </a:lnTo>
                <a:lnTo>
                  <a:pt x="3096946" y="1847063"/>
                </a:lnTo>
                <a:lnTo>
                  <a:pt x="0" y="1847063"/>
                </a:lnTo>
                <a:lnTo>
                  <a:pt x="0" y="19995"/>
                </a:lnTo>
                <a:lnTo>
                  <a:pt x="581343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2225">
            <a:solidFill>
              <a:schemeClr val="bg2">
                <a:lumMod val="25000"/>
              </a:schemeClr>
            </a:solidFill>
          </a:ln>
          <a:effectLst>
            <a:outerShdw dist="381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1350">
              <a:solidFill>
                <a:schemeClr val="tx1"/>
              </a:solidFill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32" name="îṣ1îďê"/>
          <p:cNvSpPr/>
          <p:nvPr/>
        </p:nvSpPr>
        <p:spPr>
          <a:xfrm>
            <a:off x="1750281" y="3652929"/>
            <a:ext cx="640577" cy="363122"/>
          </a:xfrm>
          <a:custGeom>
            <a:avLst/>
            <a:gdLst>
              <a:gd name="connsiteX0" fmla="*/ 950852 w 3477306"/>
              <a:gd name="connsiteY0" fmla="*/ 0 h 1971169"/>
              <a:gd name="connsiteX1" fmla="*/ 1278936 w 3477306"/>
              <a:gd name="connsiteY1" fmla="*/ 109374 h 1971169"/>
              <a:gd name="connsiteX2" fmla="*/ 1522353 w 3477306"/>
              <a:gd name="connsiteY2" fmla="*/ 75568 h 1971169"/>
              <a:gd name="connsiteX3" fmla="*/ 1712853 w 3477306"/>
              <a:gd name="connsiteY3" fmla="*/ 182953 h 1971169"/>
              <a:gd name="connsiteX4" fmla="*/ 2392303 w 3477306"/>
              <a:gd name="connsiteY4" fmla="*/ 280395 h 1971169"/>
              <a:gd name="connsiteX5" fmla="*/ 2639953 w 3477306"/>
              <a:gd name="connsiteY5" fmla="*/ 151135 h 1971169"/>
              <a:gd name="connsiteX6" fmla="*/ 3124670 w 3477306"/>
              <a:gd name="connsiteY6" fmla="*/ 91476 h 1971169"/>
              <a:gd name="connsiteX7" fmla="*/ 3477306 w 3477306"/>
              <a:gd name="connsiteY7" fmla="*/ 187380 h 1971169"/>
              <a:gd name="connsiteX8" fmla="*/ 3477306 w 3477306"/>
              <a:gd name="connsiteY8" fmla="*/ 1971169 h 1971169"/>
              <a:gd name="connsiteX9" fmla="*/ 0 w 3477306"/>
              <a:gd name="connsiteY9" fmla="*/ 1971169 h 1971169"/>
              <a:gd name="connsiteX10" fmla="*/ 27986 w 3477306"/>
              <a:gd name="connsiteY10" fmla="*/ 1644583 h 1971169"/>
              <a:gd name="connsiteX11" fmla="*/ 330669 w 3477306"/>
              <a:gd name="connsiteY11" fmla="*/ 1197145 h 1971169"/>
              <a:gd name="connsiteX12" fmla="*/ 226952 w 3477306"/>
              <a:gd name="connsiteY12" fmla="*/ 713912 h 1971169"/>
              <a:gd name="connsiteX13" fmla="*/ 569852 w 3477306"/>
              <a:gd name="connsiteY13" fmla="*/ 182953 h 1971169"/>
              <a:gd name="connsiteX14" fmla="*/ 950852 w 3477306"/>
              <a:gd name="connsiteY14" fmla="*/ 0 h 1971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77306" h="1971169">
                <a:moveTo>
                  <a:pt x="950852" y="0"/>
                </a:moveTo>
                <a:lnTo>
                  <a:pt x="1278936" y="109374"/>
                </a:lnTo>
                <a:lnTo>
                  <a:pt x="1522353" y="75568"/>
                </a:lnTo>
                <a:lnTo>
                  <a:pt x="1712853" y="182953"/>
                </a:lnTo>
                <a:lnTo>
                  <a:pt x="2392303" y="280395"/>
                </a:lnTo>
                <a:lnTo>
                  <a:pt x="2639953" y="151135"/>
                </a:lnTo>
                <a:lnTo>
                  <a:pt x="3124670" y="91476"/>
                </a:lnTo>
                <a:lnTo>
                  <a:pt x="3477306" y="187380"/>
                </a:lnTo>
                <a:lnTo>
                  <a:pt x="3477306" y="1971169"/>
                </a:lnTo>
                <a:lnTo>
                  <a:pt x="0" y="1971169"/>
                </a:lnTo>
                <a:lnTo>
                  <a:pt x="27986" y="1644583"/>
                </a:lnTo>
                <a:lnTo>
                  <a:pt x="330669" y="1197145"/>
                </a:lnTo>
                <a:lnTo>
                  <a:pt x="226952" y="713912"/>
                </a:lnTo>
                <a:lnTo>
                  <a:pt x="569852" y="182953"/>
                </a:lnTo>
                <a:lnTo>
                  <a:pt x="950852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22225">
            <a:solidFill>
              <a:schemeClr val="bg2">
                <a:lumMod val="25000"/>
              </a:schemeClr>
            </a:solidFill>
          </a:ln>
          <a:effectLst>
            <a:outerShdw dist="38100" dir="8100000" algn="tr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1350">
              <a:solidFill>
                <a:schemeClr val="tx1"/>
              </a:solidFill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96" name="文本框 95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6471837" y="4128278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smtClean="0">
                <a:latin typeface="华文楷体"/>
                <a:ea typeface="华文楷体"/>
              </a:rPr>
              <a:t>超越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6063475" y="3805738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smtClean="0">
                <a:latin typeface="Arial"/>
                <a:ea typeface="华文楷体"/>
              </a:rPr>
              <a:t>2021</a:t>
            </a:r>
            <a:r>
              <a:rPr lang="zh-CN" altLang="en-US" sz="1400" b="1" smtClean="0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98" name="îŝļíḋe"/>
          <p:cNvSpPr/>
          <p:nvPr/>
        </p:nvSpPr>
        <p:spPr bwMode="auto">
          <a:xfrm>
            <a:off x="7060131" y="3721353"/>
            <a:ext cx="327381" cy="490652"/>
          </a:xfrm>
          <a:custGeom>
            <a:avLst/>
            <a:gdLst>
              <a:gd name="T0" fmla="*/ 215 w 255"/>
              <a:gd name="T1" fmla="*/ 443 h 469"/>
              <a:gd name="T2" fmla="*/ 237 w 255"/>
              <a:gd name="T3" fmla="*/ 444 h 469"/>
              <a:gd name="T4" fmla="*/ 240 w 255"/>
              <a:gd name="T5" fmla="*/ 450 h 469"/>
              <a:gd name="T6" fmla="*/ 227 w 255"/>
              <a:gd name="T7" fmla="*/ 461 h 469"/>
              <a:gd name="T8" fmla="*/ 196 w 255"/>
              <a:gd name="T9" fmla="*/ 464 h 469"/>
              <a:gd name="T10" fmla="*/ 178 w 255"/>
              <a:gd name="T11" fmla="*/ 466 h 469"/>
              <a:gd name="T12" fmla="*/ 160 w 255"/>
              <a:gd name="T13" fmla="*/ 450 h 469"/>
              <a:gd name="T14" fmla="*/ 157 w 255"/>
              <a:gd name="T15" fmla="*/ 401 h 469"/>
              <a:gd name="T16" fmla="*/ 151 w 255"/>
              <a:gd name="T17" fmla="*/ 340 h 469"/>
              <a:gd name="T18" fmla="*/ 141 w 255"/>
              <a:gd name="T19" fmla="*/ 320 h 469"/>
              <a:gd name="T20" fmla="*/ 23 w 255"/>
              <a:gd name="T21" fmla="*/ 277 h 469"/>
              <a:gd name="T22" fmla="*/ 19 w 255"/>
              <a:gd name="T23" fmla="*/ 220 h 469"/>
              <a:gd name="T24" fmla="*/ 31 w 255"/>
              <a:gd name="T25" fmla="*/ 185 h 469"/>
              <a:gd name="T26" fmla="*/ 60 w 255"/>
              <a:gd name="T27" fmla="*/ 125 h 469"/>
              <a:gd name="T28" fmla="*/ 111 w 255"/>
              <a:gd name="T29" fmla="*/ 51 h 469"/>
              <a:gd name="T30" fmla="*/ 134 w 255"/>
              <a:gd name="T31" fmla="*/ 2 h 469"/>
              <a:gd name="T32" fmla="*/ 177 w 255"/>
              <a:gd name="T33" fmla="*/ 16 h 469"/>
              <a:gd name="T34" fmla="*/ 174 w 255"/>
              <a:gd name="T35" fmla="*/ 54 h 469"/>
              <a:gd name="T36" fmla="*/ 165 w 255"/>
              <a:gd name="T37" fmla="*/ 72 h 469"/>
              <a:gd name="T38" fmla="*/ 142 w 255"/>
              <a:gd name="T39" fmla="*/ 87 h 469"/>
              <a:gd name="T40" fmla="*/ 143 w 255"/>
              <a:gd name="T41" fmla="*/ 97 h 469"/>
              <a:gd name="T42" fmla="*/ 165 w 255"/>
              <a:gd name="T43" fmla="*/ 111 h 469"/>
              <a:gd name="T44" fmla="*/ 173 w 255"/>
              <a:gd name="T45" fmla="*/ 115 h 469"/>
              <a:gd name="T46" fmla="*/ 181 w 255"/>
              <a:gd name="T47" fmla="*/ 133 h 469"/>
              <a:gd name="T48" fmla="*/ 172 w 255"/>
              <a:gd name="T49" fmla="*/ 146 h 469"/>
              <a:gd name="T50" fmla="*/ 163 w 255"/>
              <a:gd name="T51" fmla="*/ 146 h 469"/>
              <a:gd name="T52" fmla="*/ 155 w 255"/>
              <a:gd name="T53" fmla="*/ 140 h 469"/>
              <a:gd name="T54" fmla="*/ 144 w 255"/>
              <a:gd name="T55" fmla="*/ 128 h 469"/>
              <a:gd name="T56" fmla="*/ 139 w 255"/>
              <a:gd name="T57" fmla="*/ 130 h 469"/>
              <a:gd name="T58" fmla="*/ 100 w 255"/>
              <a:gd name="T59" fmla="*/ 204 h 469"/>
              <a:gd name="T60" fmla="*/ 88 w 255"/>
              <a:gd name="T61" fmla="*/ 238 h 469"/>
              <a:gd name="T62" fmla="*/ 178 w 255"/>
              <a:gd name="T63" fmla="*/ 280 h 469"/>
              <a:gd name="T64" fmla="*/ 194 w 255"/>
              <a:gd name="T65" fmla="*/ 309 h 469"/>
              <a:gd name="T66" fmla="*/ 200 w 255"/>
              <a:gd name="T67" fmla="*/ 394 h 469"/>
              <a:gd name="T68" fmla="*/ 213 w 255"/>
              <a:gd name="T69" fmla="*/ 421 h 469"/>
              <a:gd name="T70" fmla="*/ 237 w 255"/>
              <a:gd name="T71" fmla="*/ 423 h 469"/>
              <a:gd name="T72" fmla="*/ 254 w 255"/>
              <a:gd name="T73" fmla="*/ 424 h 469"/>
              <a:gd name="T74" fmla="*/ 245 w 255"/>
              <a:gd name="T75" fmla="*/ 437 h 469"/>
              <a:gd name="T76" fmla="*/ 230 w 255"/>
              <a:gd name="T77" fmla="*/ 441 h 469"/>
              <a:gd name="T78" fmla="*/ 215 w 255"/>
              <a:gd name="T79" fmla="*/ 443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5" h="469">
                <a:moveTo>
                  <a:pt x="215" y="443"/>
                </a:moveTo>
                <a:cubicBezTo>
                  <a:pt x="215" y="443"/>
                  <a:pt x="219" y="451"/>
                  <a:pt x="237" y="444"/>
                </a:cubicBezTo>
                <a:cubicBezTo>
                  <a:pt x="237" y="444"/>
                  <a:pt x="243" y="446"/>
                  <a:pt x="240" y="450"/>
                </a:cubicBezTo>
                <a:cubicBezTo>
                  <a:pt x="240" y="450"/>
                  <a:pt x="238" y="461"/>
                  <a:pt x="227" y="461"/>
                </a:cubicBezTo>
                <a:cubicBezTo>
                  <a:pt x="227" y="461"/>
                  <a:pt x="211" y="468"/>
                  <a:pt x="196" y="464"/>
                </a:cubicBezTo>
                <a:cubicBezTo>
                  <a:pt x="196" y="464"/>
                  <a:pt x="184" y="465"/>
                  <a:pt x="178" y="466"/>
                </a:cubicBezTo>
                <a:cubicBezTo>
                  <a:pt x="172" y="467"/>
                  <a:pt x="157" y="469"/>
                  <a:pt x="160" y="450"/>
                </a:cubicBezTo>
                <a:cubicBezTo>
                  <a:pt x="163" y="430"/>
                  <a:pt x="160" y="408"/>
                  <a:pt x="157" y="401"/>
                </a:cubicBezTo>
                <a:cubicBezTo>
                  <a:pt x="155" y="394"/>
                  <a:pt x="148" y="354"/>
                  <a:pt x="151" y="340"/>
                </a:cubicBezTo>
                <a:cubicBezTo>
                  <a:pt x="151" y="340"/>
                  <a:pt x="154" y="324"/>
                  <a:pt x="141" y="320"/>
                </a:cubicBezTo>
                <a:cubicBezTo>
                  <a:pt x="141" y="320"/>
                  <a:pt x="30" y="289"/>
                  <a:pt x="23" y="277"/>
                </a:cubicBezTo>
                <a:cubicBezTo>
                  <a:pt x="23" y="277"/>
                  <a:pt x="0" y="251"/>
                  <a:pt x="19" y="220"/>
                </a:cubicBezTo>
                <a:cubicBezTo>
                  <a:pt x="19" y="220"/>
                  <a:pt x="29" y="194"/>
                  <a:pt x="31" y="185"/>
                </a:cubicBezTo>
                <a:cubicBezTo>
                  <a:pt x="32" y="176"/>
                  <a:pt x="57" y="135"/>
                  <a:pt x="60" y="125"/>
                </a:cubicBezTo>
                <a:cubicBezTo>
                  <a:pt x="62" y="115"/>
                  <a:pt x="80" y="49"/>
                  <a:pt x="111" y="51"/>
                </a:cubicBezTo>
                <a:cubicBezTo>
                  <a:pt x="111" y="51"/>
                  <a:pt x="111" y="4"/>
                  <a:pt x="134" y="2"/>
                </a:cubicBezTo>
                <a:cubicBezTo>
                  <a:pt x="134" y="2"/>
                  <a:pt x="168" y="0"/>
                  <a:pt x="177" y="16"/>
                </a:cubicBezTo>
                <a:cubicBezTo>
                  <a:pt x="177" y="16"/>
                  <a:pt x="191" y="45"/>
                  <a:pt x="174" y="54"/>
                </a:cubicBezTo>
                <a:cubicBezTo>
                  <a:pt x="174" y="54"/>
                  <a:pt x="179" y="74"/>
                  <a:pt x="165" y="72"/>
                </a:cubicBezTo>
                <a:cubicBezTo>
                  <a:pt x="165" y="72"/>
                  <a:pt x="151" y="92"/>
                  <a:pt x="142" y="87"/>
                </a:cubicBezTo>
                <a:cubicBezTo>
                  <a:pt x="142" y="87"/>
                  <a:pt x="139" y="94"/>
                  <a:pt x="143" y="97"/>
                </a:cubicBezTo>
                <a:cubicBezTo>
                  <a:pt x="147" y="101"/>
                  <a:pt x="148" y="107"/>
                  <a:pt x="165" y="111"/>
                </a:cubicBezTo>
                <a:cubicBezTo>
                  <a:pt x="173" y="115"/>
                  <a:pt x="173" y="115"/>
                  <a:pt x="173" y="115"/>
                </a:cubicBezTo>
                <a:cubicBezTo>
                  <a:pt x="173" y="115"/>
                  <a:pt x="181" y="131"/>
                  <a:pt x="181" y="133"/>
                </a:cubicBezTo>
                <a:cubicBezTo>
                  <a:pt x="181" y="136"/>
                  <a:pt x="174" y="144"/>
                  <a:pt x="172" y="146"/>
                </a:cubicBezTo>
                <a:cubicBezTo>
                  <a:pt x="169" y="149"/>
                  <a:pt x="163" y="146"/>
                  <a:pt x="163" y="146"/>
                </a:cubicBezTo>
                <a:cubicBezTo>
                  <a:pt x="163" y="146"/>
                  <a:pt x="153" y="147"/>
                  <a:pt x="155" y="140"/>
                </a:cubicBezTo>
                <a:cubicBezTo>
                  <a:pt x="155" y="140"/>
                  <a:pt x="143" y="134"/>
                  <a:pt x="144" y="128"/>
                </a:cubicBezTo>
                <a:cubicBezTo>
                  <a:pt x="139" y="130"/>
                  <a:pt x="139" y="130"/>
                  <a:pt x="139" y="130"/>
                </a:cubicBezTo>
                <a:cubicBezTo>
                  <a:pt x="139" y="130"/>
                  <a:pt x="120" y="193"/>
                  <a:pt x="100" y="204"/>
                </a:cubicBezTo>
                <a:cubicBezTo>
                  <a:pt x="100" y="204"/>
                  <a:pt x="84" y="230"/>
                  <a:pt x="88" y="238"/>
                </a:cubicBezTo>
                <a:cubicBezTo>
                  <a:pt x="88" y="238"/>
                  <a:pt x="160" y="258"/>
                  <a:pt x="178" y="280"/>
                </a:cubicBezTo>
                <a:cubicBezTo>
                  <a:pt x="178" y="280"/>
                  <a:pt x="196" y="285"/>
                  <a:pt x="194" y="309"/>
                </a:cubicBezTo>
                <a:cubicBezTo>
                  <a:pt x="194" y="309"/>
                  <a:pt x="199" y="368"/>
                  <a:pt x="200" y="394"/>
                </a:cubicBezTo>
                <a:cubicBezTo>
                  <a:pt x="200" y="394"/>
                  <a:pt x="206" y="417"/>
                  <a:pt x="213" y="421"/>
                </a:cubicBezTo>
                <a:cubicBezTo>
                  <a:pt x="220" y="425"/>
                  <a:pt x="231" y="425"/>
                  <a:pt x="237" y="423"/>
                </a:cubicBezTo>
                <a:cubicBezTo>
                  <a:pt x="242" y="421"/>
                  <a:pt x="255" y="411"/>
                  <a:pt x="254" y="424"/>
                </a:cubicBezTo>
                <a:cubicBezTo>
                  <a:pt x="254" y="424"/>
                  <a:pt x="249" y="434"/>
                  <a:pt x="245" y="437"/>
                </a:cubicBezTo>
                <a:cubicBezTo>
                  <a:pt x="240" y="439"/>
                  <a:pt x="236" y="441"/>
                  <a:pt x="230" y="441"/>
                </a:cubicBezTo>
                <a:cubicBezTo>
                  <a:pt x="225" y="441"/>
                  <a:pt x="215" y="443"/>
                  <a:pt x="215" y="443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defTabSz="457200"/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E4C123DB-5EBF-47B5-A20E-6E43F6E2E3C4}"/>
              </a:ext>
            </a:extLst>
          </p:cNvPr>
          <p:cNvSpPr txBox="1"/>
          <p:nvPr/>
        </p:nvSpPr>
        <p:spPr>
          <a:xfrm>
            <a:off x="3626821" y="4127560"/>
            <a:ext cx="81735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smtClean="0">
                <a:latin typeface="华文楷体"/>
                <a:ea typeface="华文楷体"/>
              </a:rPr>
              <a:t>探新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3218459" y="3805020"/>
            <a:ext cx="7617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smtClean="0">
                <a:latin typeface="Arial"/>
                <a:ea typeface="华文楷体"/>
              </a:rPr>
              <a:t>2022</a:t>
            </a:r>
            <a:r>
              <a:rPr lang="zh-CN" altLang="en-US" sz="1400" b="1" smtClean="0">
                <a:latin typeface="Arial"/>
                <a:ea typeface="华文楷体"/>
              </a:rPr>
              <a:t>年</a:t>
            </a:r>
            <a:endParaRPr lang="zh-CN" altLang="en-US" sz="1400"/>
          </a:p>
        </p:txBody>
      </p:sp>
      <p:sp>
        <p:nvSpPr>
          <p:cNvPr id="101" name="îšlîḑé"/>
          <p:cNvSpPr/>
          <p:nvPr/>
        </p:nvSpPr>
        <p:spPr bwMode="auto">
          <a:xfrm>
            <a:off x="4195071" y="3722491"/>
            <a:ext cx="337094" cy="642681"/>
          </a:xfrm>
          <a:custGeom>
            <a:avLst/>
            <a:gdLst>
              <a:gd name="T0" fmla="*/ 218 w 222"/>
              <a:gd name="T1" fmla="*/ 499 h 554"/>
              <a:gd name="T2" fmla="*/ 205 w 222"/>
              <a:gd name="T3" fmla="*/ 501 h 554"/>
              <a:gd name="T4" fmla="*/ 177 w 222"/>
              <a:gd name="T5" fmla="*/ 497 h 554"/>
              <a:gd name="T6" fmla="*/ 165 w 222"/>
              <a:gd name="T7" fmla="*/ 449 h 554"/>
              <a:gd name="T8" fmla="*/ 160 w 222"/>
              <a:gd name="T9" fmla="*/ 383 h 554"/>
              <a:gd name="T10" fmla="*/ 156 w 222"/>
              <a:gd name="T11" fmla="*/ 352 h 554"/>
              <a:gd name="T12" fmla="*/ 128 w 222"/>
              <a:gd name="T13" fmla="*/ 281 h 554"/>
              <a:gd name="T14" fmla="*/ 113 w 222"/>
              <a:gd name="T15" fmla="*/ 249 h 554"/>
              <a:gd name="T16" fmla="*/ 121 w 222"/>
              <a:gd name="T17" fmla="*/ 188 h 554"/>
              <a:gd name="T18" fmla="*/ 125 w 222"/>
              <a:gd name="T19" fmla="*/ 90 h 554"/>
              <a:gd name="T20" fmla="*/ 126 w 222"/>
              <a:gd name="T21" fmla="*/ 83 h 554"/>
              <a:gd name="T22" fmla="*/ 147 w 222"/>
              <a:gd name="T23" fmla="*/ 69 h 554"/>
              <a:gd name="T24" fmla="*/ 156 w 222"/>
              <a:gd name="T25" fmla="*/ 52 h 554"/>
              <a:gd name="T26" fmla="*/ 160 w 222"/>
              <a:gd name="T27" fmla="*/ 35 h 554"/>
              <a:gd name="T28" fmla="*/ 116 w 222"/>
              <a:gd name="T29" fmla="*/ 1 h 554"/>
              <a:gd name="T30" fmla="*/ 97 w 222"/>
              <a:gd name="T31" fmla="*/ 53 h 554"/>
              <a:gd name="T32" fmla="*/ 88 w 222"/>
              <a:gd name="T33" fmla="*/ 60 h 554"/>
              <a:gd name="T34" fmla="*/ 34 w 222"/>
              <a:gd name="T35" fmla="*/ 62 h 554"/>
              <a:gd name="T36" fmla="*/ 12 w 222"/>
              <a:gd name="T37" fmla="*/ 65 h 554"/>
              <a:gd name="T38" fmla="*/ 6 w 222"/>
              <a:gd name="T39" fmla="*/ 86 h 554"/>
              <a:gd name="T40" fmla="*/ 38 w 222"/>
              <a:gd name="T41" fmla="*/ 153 h 554"/>
              <a:gd name="T42" fmla="*/ 53 w 222"/>
              <a:gd name="T43" fmla="*/ 179 h 554"/>
              <a:gd name="T44" fmla="*/ 52 w 222"/>
              <a:gd name="T45" fmla="*/ 230 h 554"/>
              <a:gd name="T46" fmla="*/ 62 w 222"/>
              <a:gd name="T47" fmla="*/ 303 h 554"/>
              <a:gd name="T48" fmla="*/ 89 w 222"/>
              <a:gd name="T49" fmla="*/ 365 h 554"/>
              <a:gd name="T50" fmla="*/ 100 w 222"/>
              <a:gd name="T51" fmla="*/ 407 h 554"/>
              <a:gd name="T52" fmla="*/ 107 w 222"/>
              <a:gd name="T53" fmla="*/ 483 h 554"/>
              <a:gd name="T54" fmla="*/ 110 w 222"/>
              <a:gd name="T55" fmla="*/ 516 h 554"/>
              <a:gd name="T56" fmla="*/ 124 w 222"/>
              <a:gd name="T57" fmla="*/ 541 h 554"/>
              <a:gd name="T58" fmla="*/ 147 w 222"/>
              <a:gd name="T59" fmla="*/ 549 h 554"/>
              <a:gd name="T60" fmla="*/ 164 w 222"/>
              <a:gd name="T61" fmla="*/ 549 h 554"/>
              <a:gd name="T62" fmla="*/ 184 w 222"/>
              <a:gd name="T63" fmla="*/ 544 h 554"/>
              <a:gd name="T64" fmla="*/ 180 w 222"/>
              <a:gd name="T65" fmla="*/ 534 h 554"/>
              <a:gd name="T66" fmla="*/ 161 w 222"/>
              <a:gd name="T67" fmla="*/ 526 h 554"/>
              <a:gd name="T68" fmla="*/ 169 w 222"/>
              <a:gd name="T69" fmla="*/ 520 h 554"/>
              <a:gd name="T70" fmla="*/ 190 w 222"/>
              <a:gd name="T71" fmla="*/ 519 h 554"/>
              <a:gd name="T72" fmla="*/ 215 w 222"/>
              <a:gd name="T73" fmla="*/ 511 h 554"/>
              <a:gd name="T74" fmla="*/ 218 w 222"/>
              <a:gd name="T75" fmla="*/ 499 h 554"/>
              <a:gd name="T76" fmla="*/ 43 w 222"/>
              <a:gd name="T77" fmla="*/ 102 h 554"/>
              <a:gd name="T78" fmla="*/ 50 w 222"/>
              <a:gd name="T79" fmla="*/ 106 h 554"/>
              <a:gd name="T80" fmla="*/ 54 w 222"/>
              <a:gd name="T81" fmla="*/ 140 h 554"/>
              <a:gd name="T82" fmla="*/ 43 w 222"/>
              <a:gd name="T83" fmla="*/ 102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2" h="554">
                <a:moveTo>
                  <a:pt x="218" y="499"/>
                </a:moveTo>
                <a:cubicBezTo>
                  <a:pt x="219" y="495"/>
                  <a:pt x="210" y="498"/>
                  <a:pt x="205" y="501"/>
                </a:cubicBezTo>
                <a:cubicBezTo>
                  <a:pt x="201" y="503"/>
                  <a:pt x="177" y="497"/>
                  <a:pt x="177" y="497"/>
                </a:cubicBezTo>
                <a:cubicBezTo>
                  <a:pt x="171" y="493"/>
                  <a:pt x="164" y="471"/>
                  <a:pt x="165" y="449"/>
                </a:cubicBezTo>
                <a:cubicBezTo>
                  <a:pt x="165" y="428"/>
                  <a:pt x="160" y="383"/>
                  <a:pt x="160" y="383"/>
                </a:cubicBezTo>
                <a:cubicBezTo>
                  <a:pt x="165" y="368"/>
                  <a:pt x="156" y="352"/>
                  <a:pt x="156" y="352"/>
                </a:cubicBezTo>
                <a:cubicBezTo>
                  <a:pt x="153" y="329"/>
                  <a:pt x="133" y="293"/>
                  <a:pt x="128" y="281"/>
                </a:cubicBezTo>
                <a:cubicBezTo>
                  <a:pt x="122" y="268"/>
                  <a:pt x="115" y="263"/>
                  <a:pt x="113" y="249"/>
                </a:cubicBezTo>
                <a:cubicBezTo>
                  <a:pt x="112" y="235"/>
                  <a:pt x="121" y="188"/>
                  <a:pt x="121" y="188"/>
                </a:cubicBezTo>
                <a:cubicBezTo>
                  <a:pt x="133" y="155"/>
                  <a:pt x="125" y="94"/>
                  <a:pt x="125" y="90"/>
                </a:cubicBezTo>
                <a:cubicBezTo>
                  <a:pt x="124" y="85"/>
                  <a:pt x="126" y="83"/>
                  <a:pt x="126" y="83"/>
                </a:cubicBezTo>
                <a:cubicBezTo>
                  <a:pt x="137" y="90"/>
                  <a:pt x="147" y="69"/>
                  <a:pt x="147" y="69"/>
                </a:cubicBezTo>
                <a:cubicBezTo>
                  <a:pt x="161" y="71"/>
                  <a:pt x="156" y="52"/>
                  <a:pt x="156" y="52"/>
                </a:cubicBezTo>
                <a:cubicBezTo>
                  <a:pt x="163" y="45"/>
                  <a:pt x="160" y="35"/>
                  <a:pt x="160" y="35"/>
                </a:cubicBezTo>
                <a:cubicBezTo>
                  <a:pt x="168" y="0"/>
                  <a:pt x="116" y="1"/>
                  <a:pt x="116" y="1"/>
                </a:cubicBezTo>
                <a:cubicBezTo>
                  <a:pt x="88" y="6"/>
                  <a:pt x="97" y="53"/>
                  <a:pt x="97" y="53"/>
                </a:cubicBezTo>
                <a:cubicBezTo>
                  <a:pt x="97" y="56"/>
                  <a:pt x="88" y="60"/>
                  <a:pt x="88" y="60"/>
                </a:cubicBezTo>
                <a:cubicBezTo>
                  <a:pt x="61" y="51"/>
                  <a:pt x="34" y="62"/>
                  <a:pt x="34" y="62"/>
                </a:cubicBezTo>
                <a:cubicBezTo>
                  <a:pt x="27" y="65"/>
                  <a:pt x="12" y="65"/>
                  <a:pt x="12" y="65"/>
                </a:cubicBezTo>
                <a:cubicBezTo>
                  <a:pt x="0" y="68"/>
                  <a:pt x="6" y="86"/>
                  <a:pt x="6" y="86"/>
                </a:cubicBezTo>
                <a:cubicBezTo>
                  <a:pt x="4" y="109"/>
                  <a:pt x="38" y="153"/>
                  <a:pt x="38" y="153"/>
                </a:cubicBezTo>
                <a:cubicBezTo>
                  <a:pt x="38" y="163"/>
                  <a:pt x="53" y="179"/>
                  <a:pt x="53" y="179"/>
                </a:cubicBezTo>
                <a:cubicBezTo>
                  <a:pt x="54" y="186"/>
                  <a:pt x="52" y="230"/>
                  <a:pt x="52" y="230"/>
                </a:cubicBezTo>
                <a:cubicBezTo>
                  <a:pt x="23" y="271"/>
                  <a:pt x="59" y="297"/>
                  <a:pt x="62" y="303"/>
                </a:cubicBezTo>
                <a:cubicBezTo>
                  <a:pt x="65" y="309"/>
                  <a:pt x="84" y="355"/>
                  <a:pt x="89" y="365"/>
                </a:cubicBezTo>
                <a:cubicBezTo>
                  <a:pt x="93" y="375"/>
                  <a:pt x="104" y="370"/>
                  <a:pt x="100" y="407"/>
                </a:cubicBezTo>
                <a:cubicBezTo>
                  <a:pt x="96" y="444"/>
                  <a:pt x="105" y="472"/>
                  <a:pt x="107" y="483"/>
                </a:cubicBezTo>
                <a:cubicBezTo>
                  <a:pt x="109" y="493"/>
                  <a:pt x="117" y="492"/>
                  <a:pt x="110" y="516"/>
                </a:cubicBezTo>
                <a:cubicBezTo>
                  <a:pt x="102" y="540"/>
                  <a:pt x="116" y="539"/>
                  <a:pt x="124" y="541"/>
                </a:cubicBezTo>
                <a:cubicBezTo>
                  <a:pt x="132" y="543"/>
                  <a:pt x="140" y="543"/>
                  <a:pt x="147" y="549"/>
                </a:cubicBezTo>
                <a:cubicBezTo>
                  <a:pt x="153" y="554"/>
                  <a:pt x="158" y="551"/>
                  <a:pt x="164" y="549"/>
                </a:cubicBezTo>
                <a:cubicBezTo>
                  <a:pt x="171" y="548"/>
                  <a:pt x="184" y="544"/>
                  <a:pt x="184" y="544"/>
                </a:cubicBezTo>
                <a:cubicBezTo>
                  <a:pt x="192" y="541"/>
                  <a:pt x="185" y="533"/>
                  <a:pt x="180" y="534"/>
                </a:cubicBezTo>
                <a:cubicBezTo>
                  <a:pt x="174" y="535"/>
                  <a:pt x="161" y="526"/>
                  <a:pt x="161" y="526"/>
                </a:cubicBezTo>
                <a:cubicBezTo>
                  <a:pt x="161" y="526"/>
                  <a:pt x="165" y="522"/>
                  <a:pt x="169" y="520"/>
                </a:cubicBezTo>
                <a:cubicBezTo>
                  <a:pt x="172" y="517"/>
                  <a:pt x="181" y="519"/>
                  <a:pt x="190" y="519"/>
                </a:cubicBezTo>
                <a:cubicBezTo>
                  <a:pt x="200" y="519"/>
                  <a:pt x="207" y="517"/>
                  <a:pt x="215" y="511"/>
                </a:cubicBezTo>
                <a:cubicBezTo>
                  <a:pt x="222" y="506"/>
                  <a:pt x="218" y="499"/>
                  <a:pt x="218" y="499"/>
                </a:cubicBezTo>
                <a:close/>
                <a:moveTo>
                  <a:pt x="43" y="102"/>
                </a:moveTo>
                <a:cubicBezTo>
                  <a:pt x="44" y="105"/>
                  <a:pt x="50" y="106"/>
                  <a:pt x="50" y="106"/>
                </a:cubicBezTo>
                <a:cubicBezTo>
                  <a:pt x="50" y="112"/>
                  <a:pt x="54" y="140"/>
                  <a:pt x="54" y="140"/>
                </a:cubicBezTo>
                <a:cubicBezTo>
                  <a:pt x="48" y="133"/>
                  <a:pt x="43" y="102"/>
                  <a:pt x="43" y="102"/>
                </a:cubicBezTo>
                <a:close/>
              </a:path>
            </a:pathLst>
          </a:custGeom>
          <a:solidFill>
            <a:srgbClr val="000006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defTabSz="457200"/>
            <a:endParaRPr lang="en-US" sz="1350"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02" name="直接箭头连接符 101"/>
          <p:cNvCxnSpPr/>
          <p:nvPr/>
        </p:nvCxnSpPr>
        <p:spPr>
          <a:xfrm flipH="1">
            <a:off x="10597524" y="4024459"/>
            <a:ext cx="184843" cy="4457"/>
          </a:xfrm>
          <a:prstGeom prst="straightConnector1">
            <a:avLst/>
          </a:prstGeom>
          <a:ln w="76200">
            <a:solidFill>
              <a:schemeClr val="accent1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 102">
            <a:extLst>
              <a:ext uri="{FF2B5EF4-FFF2-40B4-BE49-F238E27FC236}">
                <a16:creationId xmlns:a16="http://schemas.microsoft.com/office/drawing/2014/main" id="{DE4A8038-08ED-48A9-BF60-2CF7B8F84295}"/>
              </a:ext>
            </a:extLst>
          </p:cNvPr>
          <p:cNvSpPr/>
          <p:nvPr/>
        </p:nvSpPr>
        <p:spPr bwMode="auto">
          <a:xfrm>
            <a:off x="8413130" y="4814221"/>
            <a:ext cx="3338490" cy="477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根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据不同账套所需参数在</a:t>
            </a:r>
            <a:r>
              <a:rPr kumimoji="0" lang="en-US" altLang="zh-CN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OF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系统中频繁提取报表，为月结年结总账核算处理提速提供基础数据</a:t>
            </a:r>
            <a:endParaRPr kumimoji="0" lang="en-US" altLang="zh-CN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31EFC60A-B44D-4C00-94B1-23D549A1A4DF}"/>
              </a:ext>
            </a:extLst>
          </p:cNvPr>
          <p:cNvSpPr/>
          <p:nvPr/>
        </p:nvSpPr>
        <p:spPr bwMode="auto">
          <a:xfrm>
            <a:off x="4796670" y="4807575"/>
            <a:ext cx="3447386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综合线新承接业务，部分流程直接由机器人作业</a:t>
            </a:r>
            <a:endParaRPr kumimoji="0" lang="en-US" altLang="zh-CN" sz="1100" i="0" u="none" strike="noStrike" kern="1200" cap="none" spc="0" normalizeH="0" baseline="0" noProof="0" smtClean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打造资金网银卡集中管理平台，支持远程调用</a:t>
            </a: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网银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卡，结合</a:t>
            </a:r>
            <a:r>
              <a:rPr kumimoji="0" lang="en-US" altLang="zh-CN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RPA</a:t>
            </a:r>
            <a:r>
              <a:rPr kumimoji="0" lang="zh-CN" altLang="en-US" sz="110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的应用获取三项专利</a:t>
            </a:r>
            <a:endParaRPr kumimoji="0" lang="en-US" altLang="zh-CN" sz="1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31EFC60A-B44D-4C00-94B1-23D549A1A4DF}"/>
              </a:ext>
            </a:extLst>
          </p:cNvPr>
          <p:cNvSpPr/>
          <p:nvPr/>
        </p:nvSpPr>
        <p:spPr bwMode="auto">
          <a:xfrm>
            <a:off x="1263543" y="4848051"/>
            <a:ext cx="3567235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sp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拓展资金流水下载应用范围，完善直连通道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探索税务认证抵扣、申报等新应用场景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服务金服财务部，挖掘财务部流程应用机会点</a:t>
            </a:r>
          </a:p>
        </p:txBody>
      </p:sp>
      <p:sp>
        <p:nvSpPr>
          <p:cNvPr id="106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>
            <a:off x="695796" y="1551762"/>
            <a:ext cx="1344069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规划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开发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07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>
            <a:off x="4209019" y="1560919"/>
            <a:ext cx="1374810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资金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上线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08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>
            <a:off x="7734875" y="1550715"/>
            <a:ext cx="1325354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估值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上线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09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 flipH="1">
            <a:off x="10307043" y="4486368"/>
            <a:ext cx="1525343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总账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上线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10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 flipH="1">
            <a:off x="6609515" y="4489315"/>
            <a:ext cx="1607294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综合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上线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11" name="ïśļïḑe">
            <a:extLst>
              <a:ext uri="{FF2B5EF4-FFF2-40B4-BE49-F238E27FC236}">
                <a16:creationId xmlns:a16="http://schemas.microsoft.com/office/drawing/2014/main" id="{5592FB1A-E51D-494D-85C9-2352454EF93C}"/>
              </a:ext>
            </a:extLst>
          </p:cNvPr>
          <p:cNvSpPr/>
          <p:nvPr/>
        </p:nvSpPr>
        <p:spPr>
          <a:xfrm flipH="1">
            <a:off x="2942569" y="4479312"/>
            <a:ext cx="1656149" cy="319142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68552" tIns="34277" rIns="68552" bIns="34277" numCol="1" rtlCol="0" anchor="ctr" anchorCtr="1" compatLnSpc="1"/>
          <a:lstStyle/>
          <a:p>
            <a:pPr defTabSz="913924">
              <a:lnSpc>
                <a:spcPct val="90000"/>
              </a:lnSpc>
              <a:buClr>
                <a:srgbClr val="CC9900"/>
              </a:buClr>
            </a:pP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税务</a:t>
            </a:r>
            <a:r>
              <a:rPr lang="en-US" altLang="zh-CN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RPA</a:t>
            </a:r>
            <a:r>
              <a:rPr lang="zh-CN" altLang="en-US" sz="14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  <a:cs typeface="+mn-ea"/>
              </a:rPr>
              <a:t>上线</a:t>
            </a:r>
            <a:endParaRPr lang="zh-CN" altLang="en-US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  <a:cs typeface="+mn-ea"/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8803614" y="4504736"/>
            <a:ext cx="153920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涉及</a:t>
            </a:r>
            <a:r>
              <a:rPr lang="en-US" altLang="zh-CN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20+</a:t>
            </a:r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专业公司</a:t>
            </a:r>
          </a:p>
        </p:txBody>
      </p:sp>
      <p:sp>
        <p:nvSpPr>
          <p:cNvPr id="113" name="矩形 112"/>
          <p:cNvSpPr/>
          <p:nvPr/>
        </p:nvSpPr>
        <p:spPr>
          <a:xfrm>
            <a:off x="5545729" y="1587893"/>
            <a:ext cx="16209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涉及资金超万亿元</a:t>
            </a:r>
          </a:p>
        </p:txBody>
      </p:sp>
      <p:sp>
        <p:nvSpPr>
          <p:cNvPr id="114" name="矩形 113"/>
          <p:cNvSpPr/>
          <p:nvPr/>
        </p:nvSpPr>
        <p:spPr>
          <a:xfrm>
            <a:off x="5287801" y="4494557"/>
            <a:ext cx="12618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获得三项专利</a:t>
            </a:r>
          </a:p>
        </p:txBody>
      </p:sp>
      <p:sp>
        <p:nvSpPr>
          <p:cNvPr id="115" name="矩形 114"/>
          <p:cNvSpPr/>
          <p:nvPr/>
        </p:nvSpPr>
        <p:spPr>
          <a:xfrm>
            <a:off x="8957441" y="1579848"/>
            <a:ext cx="232307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国内首例估值领域</a:t>
            </a:r>
            <a:r>
              <a:rPr lang="en-US" altLang="zh-CN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RPA</a:t>
            </a:r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运用</a:t>
            </a:r>
          </a:p>
        </p:txBody>
      </p:sp>
      <p:sp>
        <p:nvSpPr>
          <p:cNvPr id="116" name="矩形 115"/>
          <p:cNvSpPr/>
          <p:nvPr/>
        </p:nvSpPr>
        <p:spPr>
          <a:xfrm>
            <a:off x="1966987" y="1568873"/>
            <a:ext cx="21595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 smtClean="0">
                <a:latin typeface="华文行楷" panose="02010800040101010101" pitchFamily="2" charset="-122"/>
                <a:ea typeface="华文行楷" panose="02010800040101010101" pitchFamily="2" charset="-122"/>
              </a:rPr>
              <a:t>平安首个机器人员工诞生</a:t>
            </a:r>
            <a:endParaRPr lang="zh-CN" altLang="en-US" sz="1400" u="sng"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1331288" y="4507396"/>
            <a:ext cx="15905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运用</a:t>
            </a:r>
            <a:r>
              <a:rPr lang="en-US" altLang="zh-CN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OCR</a:t>
            </a:r>
            <a:r>
              <a:rPr lang="zh-CN" altLang="en-US" sz="1400" u="sng">
                <a:latin typeface="华文行楷" panose="02010800040101010101" pitchFamily="2" charset="-122"/>
                <a:ea typeface="华文行楷" panose="02010800040101010101" pitchFamily="2" charset="-122"/>
              </a:rPr>
              <a:t>等新技术</a:t>
            </a:r>
          </a:p>
        </p:txBody>
      </p:sp>
      <p:sp>
        <p:nvSpPr>
          <p:cNvPr id="118" name="椭圆 117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5555874" y="2833574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  <p:sp>
        <p:nvSpPr>
          <p:cNvPr id="119" name="椭圆 118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8494499" y="2838018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  <p:sp>
        <p:nvSpPr>
          <p:cNvPr id="120" name="椭圆 119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3881859" y="3890488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  <p:sp>
        <p:nvSpPr>
          <p:cNvPr id="121" name="椭圆 120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6733917" y="3910120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  <p:sp>
        <p:nvSpPr>
          <p:cNvPr id="122" name="椭圆 121">
            <a:extLst>
              <a:ext uri="{FF2B5EF4-FFF2-40B4-BE49-F238E27FC236}">
                <a16:creationId xmlns:a16="http://schemas.microsoft.com/office/drawing/2014/main" id="{5BEBAEED-D871-4968-95AA-0F47828FC694}"/>
              </a:ext>
            </a:extLst>
          </p:cNvPr>
          <p:cNvSpPr>
            <a:spLocks noChangeAspect="1"/>
          </p:cNvSpPr>
          <p:nvPr/>
        </p:nvSpPr>
        <p:spPr>
          <a:xfrm>
            <a:off x="9463518" y="3890488"/>
            <a:ext cx="195757" cy="19575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0">
            <a:solidFill>
              <a:srgbClr val="44A7B4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阿里巴巴普惠体 Heavy" panose="00020600040101010101" pitchFamily="18" charset="-122"/>
              <a:sym typeface="OPPOSans L" panose="00020600040101010101" pitchFamily="18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5368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>
                <a:latin typeface="+mj-ea"/>
              </a:rPr>
              <a:t>平安金服</a:t>
            </a:r>
            <a:r>
              <a:rPr lang="en-US" altLang="zh-CN" smtClean="0">
                <a:latin typeface="+mj-ea"/>
              </a:rPr>
              <a:t>RPA</a:t>
            </a:r>
            <a:r>
              <a:rPr lang="zh-CN" altLang="en-US" smtClean="0">
                <a:latin typeface="+mj-ea"/>
              </a:rPr>
              <a:t>全景：家族式规模，</a:t>
            </a:r>
            <a:r>
              <a:rPr lang="en-US" altLang="zh-CN" smtClean="0">
                <a:latin typeface="+mj-ea"/>
              </a:rPr>
              <a:t>415</a:t>
            </a:r>
            <a:r>
              <a:rPr lang="zh-CN" altLang="en-US" smtClean="0">
                <a:latin typeface="+mj-ea"/>
              </a:rPr>
              <a:t>项作业覆盖</a:t>
            </a:r>
            <a:endParaRPr lang="zh-CN" altLang="en-US">
              <a:latin typeface="+mj-ea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8559180" y="980225"/>
            <a:ext cx="3472543" cy="5081022"/>
          </a:xfrm>
          <a:prstGeom prst="roundRect">
            <a:avLst>
              <a:gd name="adj" fmla="val 1009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ea typeface="华文楷体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4462916" y="3329507"/>
            <a:ext cx="4017533" cy="2732243"/>
          </a:xfrm>
          <a:prstGeom prst="roundRect">
            <a:avLst>
              <a:gd name="adj" fmla="val 1009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ea typeface="华文楷体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4470821" y="980728"/>
            <a:ext cx="4009628" cy="2250204"/>
          </a:xfrm>
          <a:prstGeom prst="roundRect">
            <a:avLst>
              <a:gd name="adj" fmla="val 1009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ea typeface="华文楷体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4523938" y="5159165"/>
            <a:ext cx="1689452" cy="859673"/>
          </a:xfrm>
          <a:prstGeom prst="roundRect">
            <a:avLst>
              <a:gd name="adj" fmla="val 1174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535426" y="5280174"/>
            <a:ext cx="122976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投产异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环境变化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平稳切换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84379" y="980728"/>
            <a:ext cx="4288436" cy="5081022"/>
          </a:xfrm>
          <a:prstGeom prst="roundRect">
            <a:avLst>
              <a:gd name="adj" fmla="val 1009"/>
            </a:avLst>
          </a:prstGeom>
          <a:noFill/>
          <a:ln w="63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474223" y="5291865"/>
            <a:ext cx="3528000" cy="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/>
          <p:nvPr/>
        </p:nvCxnSpPr>
        <p:spPr>
          <a:xfrm rot="16200000">
            <a:off x="-1081378" y="3576965"/>
            <a:ext cx="3744000" cy="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椭圆 10"/>
          <p:cNvSpPr/>
          <p:nvPr/>
        </p:nvSpPr>
        <p:spPr>
          <a:xfrm>
            <a:off x="1500163" y="3116047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982916" y="4371620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1477909" y="3117141"/>
            <a:ext cx="492443" cy="4247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20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发票</a:t>
            </a:r>
            <a:endParaRPr lang="en-US" altLang="zh-CN" sz="120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20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核验</a:t>
            </a:r>
            <a:endParaRPr lang="en-US" altLang="zh-CN" sz="120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982916" y="4431157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邮</a:t>
            </a:r>
            <a:r>
              <a:rPr lang="zh-CN" altLang="en-US" sz="1100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件</a:t>
            </a:r>
            <a:endParaRPr lang="en-US" altLang="zh-CN" sz="1100" ker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提醒</a:t>
            </a:r>
            <a:endParaRPr lang="en-US" altLang="zh-CN" sz="110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82913" y="1798507"/>
            <a:ext cx="547762" cy="4037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5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业务场景</a:t>
            </a:r>
            <a:endParaRPr lang="zh-CN" altLang="en-US" sz="105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482754" y="5444470"/>
            <a:ext cx="547762" cy="4037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功能范围</a:t>
            </a:r>
            <a:endParaRPr lang="en-US" altLang="zh-CN" sz="1000" b="1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930147" y="5307730"/>
            <a:ext cx="547762" cy="4037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altLang="zh-CN" sz="1000" b="1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8" name="燕尾形 17"/>
          <p:cNvSpPr/>
          <p:nvPr/>
        </p:nvSpPr>
        <p:spPr>
          <a:xfrm rot="16200000">
            <a:off x="423435" y="3562989"/>
            <a:ext cx="278195" cy="262534"/>
          </a:xfrm>
          <a:prstGeom prst="chevron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268954" y="4193572"/>
            <a:ext cx="547762" cy="278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5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标准</a:t>
            </a:r>
            <a:endParaRPr lang="zh-CN" altLang="en-US" sz="105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277596" y="2924893"/>
            <a:ext cx="547762" cy="278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5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复杂</a:t>
            </a:r>
            <a:endParaRPr lang="zh-CN" altLang="en-US" sz="105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1145656" y="3854613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117965" y="3905846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应收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确认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5" name="椭圆 24"/>
          <p:cNvSpPr/>
          <p:nvPr/>
        </p:nvSpPr>
        <p:spPr>
          <a:xfrm>
            <a:off x="1676191" y="4114792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1648500" y="4166025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流水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下载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8" name="椭圆 27"/>
          <p:cNvSpPr/>
          <p:nvPr/>
        </p:nvSpPr>
        <p:spPr>
          <a:xfrm>
            <a:off x="1826318" y="3590801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1798627" y="3642034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报表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提取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2511269" y="3501918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2483579" y="3553151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银企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对账</a:t>
            </a:r>
            <a:endParaRPr lang="en-US" altLang="zh-CN" sz="1100" ker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1133182" y="2653055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1105492" y="2704288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订</a:t>
            </a: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单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管理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2151325" y="3061635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123635" y="3112868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发票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认证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2553027" y="2657989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2525337" y="2709222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月结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关联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3326871" y="2033755"/>
            <a:ext cx="495690" cy="468000"/>
            <a:chOff x="1381775" y="3091998"/>
            <a:chExt cx="495690" cy="468000"/>
          </a:xfrm>
          <a:noFill/>
        </p:grpSpPr>
        <p:sp>
          <p:nvSpPr>
            <p:cNvPr id="43" name="椭圆 42"/>
            <p:cNvSpPr/>
            <p:nvPr/>
          </p:nvSpPr>
          <p:spPr>
            <a:xfrm>
              <a:off x="1409465" y="3091998"/>
              <a:ext cx="468000" cy="468000"/>
            </a:xfrm>
            <a:prstGeom prst="ellipse">
              <a:avLst/>
            </a:prstGeom>
            <a:grpFill/>
            <a:ln w="9525" cap="rnd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zh-CN" altLang="en-US" sz="1050" b="1" kern="0" dirty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endParaRPr>
            </a:p>
          </p:txBody>
        </p:sp>
        <p:sp>
          <p:nvSpPr>
            <p:cNvPr id="44" name="矩形 43"/>
            <p:cNvSpPr/>
            <p:nvPr/>
          </p:nvSpPr>
          <p:spPr>
            <a:xfrm>
              <a:off x="1381775" y="3143231"/>
              <a:ext cx="466794" cy="397032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  <a:defRPr/>
              </a:pPr>
              <a:r>
                <a:rPr lang="zh-CN" altLang="en-US" sz="1100" b="1" kern="0" smtClean="0">
                  <a:latin typeface="Times New Roman" panose="02020603050405020304" pitchFamily="18" charset="0"/>
                  <a:ea typeface="华文楷体" panose="02010600040101010101" pitchFamily="2" charset="-122"/>
                  <a:sym typeface="Times New Roman" panose="02020603050405020304" pitchFamily="18" charset="0"/>
                </a:rPr>
                <a:t>税务</a:t>
              </a:r>
              <a:endParaRPr lang="en-US" altLang="zh-CN" sz="11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endParaRPr>
            </a:p>
            <a:p>
              <a:pPr algn="ctr">
                <a:lnSpc>
                  <a:spcPct val="90000"/>
                </a:lnSpc>
                <a:defRPr/>
              </a:pPr>
              <a:r>
                <a:rPr lang="zh-CN" altLang="en-US" sz="1100" b="1" kern="0" smtClean="0">
                  <a:latin typeface="Times New Roman" panose="02020603050405020304" pitchFamily="18" charset="0"/>
                  <a:ea typeface="华文楷体" panose="02010600040101010101" pitchFamily="2" charset="-122"/>
                  <a:sym typeface="Times New Roman" panose="02020603050405020304" pitchFamily="18" charset="0"/>
                </a:rPr>
                <a:t>处理</a:t>
              </a:r>
              <a:endParaRPr lang="en-US" altLang="zh-CN" sz="11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endParaRPr>
            </a:p>
          </p:txBody>
        </p:sp>
      </p:grpSp>
      <p:sp>
        <p:nvSpPr>
          <p:cNvPr id="46" name="椭圆 45"/>
          <p:cNvSpPr/>
          <p:nvPr/>
        </p:nvSpPr>
        <p:spPr>
          <a:xfrm>
            <a:off x="3090277" y="2595948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3062587" y="2647181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b="1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网</a:t>
            </a:r>
            <a:r>
              <a:rPr lang="zh-CN" altLang="en-US" sz="11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银</a:t>
            </a:r>
            <a:endParaRPr lang="en-US" altLang="zh-CN" sz="1100" b="1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b="1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盘点</a:t>
            </a:r>
            <a:endParaRPr lang="en-US" altLang="zh-CN" sz="1100" b="1" ker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49" name="椭圆 48"/>
          <p:cNvSpPr/>
          <p:nvPr/>
        </p:nvSpPr>
        <p:spPr>
          <a:xfrm>
            <a:off x="2996490" y="3156484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2968799" y="3207717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现流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编制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2" name="椭圆 51"/>
          <p:cNvSpPr/>
          <p:nvPr/>
        </p:nvSpPr>
        <p:spPr>
          <a:xfrm>
            <a:off x="2305182" y="3979936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2277491" y="4031169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电子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归档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5" name="椭圆 54"/>
          <p:cNvSpPr/>
          <p:nvPr/>
        </p:nvSpPr>
        <p:spPr>
          <a:xfrm>
            <a:off x="3006674" y="3796119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2978983" y="3847352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经</a:t>
            </a: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费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上解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8" name="椭圆 57"/>
          <p:cNvSpPr/>
          <p:nvPr/>
        </p:nvSpPr>
        <p:spPr>
          <a:xfrm>
            <a:off x="1804958" y="2653610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05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1777268" y="2704843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zh-CN" altLang="en-US" sz="1100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订</a:t>
            </a: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单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zh-CN" altLang="en-US" sz="1100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管理</a:t>
            </a:r>
            <a:endParaRPr lang="en-US" altLang="zh-CN" sz="1100" kern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1" name="椭圆 60"/>
          <p:cNvSpPr/>
          <p:nvPr/>
        </p:nvSpPr>
        <p:spPr>
          <a:xfrm>
            <a:off x="2024067" y="4511950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2" name="矩形 61"/>
          <p:cNvSpPr/>
          <p:nvPr/>
        </p:nvSpPr>
        <p:spPr>
          <a:xfrm>
            <a:off x="1996376" y="4563183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自</a:t>
            </a: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动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打印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4" name="椭圆 63"/>
          <p:cNvSpPr/>
          <p:nvPr/>
        </p:nvSpPr>
        <p:spPr>
          <a:xfrm>
            <a:off x="2714959" y="4245171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5" name="矩形 64"/>
          <p:cNvSpPr/>
          <p:nvPr/>
        </p:nvSpPr>
        <p:spPr>
          <a:xfrm>
            <a:off x="2687268" y="4296404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网银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交接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6" name="椭圆 65"/>
          <p:cNvSpPr/>
          <p:nvPr/>
        </p:nvSpPr>
        <p:spPr>
          <a:xfrm>
            <a:off x="2188182" y="2407433"/>
            <a:ext cx="234000" cy="234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7" name="椭圆 66"/>
          <p:cNvSpPr/>
          <p:nvPr/>
        </p:nvSpPr>
        <p:spPr>
          <a:xfrm>
            <a:off x="2522229" y="2407332"/>
            <a:ext cx="234000" cy="234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8" name="椭圆 67"/>
          <p:cNvSpPr/>
          <p:nvPr/>
        </p:nvSpPr>
        <p:spPr>
          <a:xfrm>
            <a:off x="2911543" y="2264038"/>
            <a:ext cx="234000" cy="234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69" name="椭圆 68"/>
          <p:cNvSpPr/>
          <p:nvPr/>
        </p:nvSpPr>
        <p:spPr>
          <a:xfrm>
            <a:off x="3481711" y="3063309"/>
            <a:ext cx="234000" cy="234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0" name="椭圆 69"/>
          <p:cNvSpPr/>
          <p:nvPr/>
        </p:nvSpPr>
        <p:spPr>
          <a:xfrm>
            <a:off x="3501723" y="3574545"/>
            <a:ext cx="234000" cy="234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2" name="椭圆 71"/>
          <p:cNvSpPr/>
          <p:nvPr/>
        </p:nvSpPr>
        <p:spPr>
          <a:xfrm>
            <a:off x="1482375" y="4608284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1454684" y="4659517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余额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比对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5" name="椭圆 74"/>
          <p:cNvSpPr/>
          <p:nvPr/>
        </p:nvSpPr>
        <p:spPr>
          <a:xfrm>
            <a:off x="977814" y="3356801"/>
            <a:ext cx="468000" cy="468000"/>
          </a:xfrm>
          <a:prstGeom prst="ellipse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950124" y="3408034"/>
            <a:ext cx="466794" cy="397032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规</a:t>
            </a: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则</a:t>
            </a:r>
            <a:endParaRPr kumimoji="0" lang="en-US" altLang="zh-CN" sz="11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校验</a:t>
            </a:r>
            <a:endParaRPr kumimoji="0" lang="en-US" altLang="zh-CN" sz="11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7" name="燕尾形 76"/>
          <p:cNvSpPr/>
          <p:nvPr/>
        </p:nvSpPr>
        <p:spPr>
          <a:xfrm>
            <a:off x="2119093" y="5490190"/>
            <a:ext cx="278195" cy="262534"/>
          </a:xfrm>
          <a:prstGeom prst="chevron">
            <a:avLst/>
          </a:prstGeom>
          <a:noFill/>
          <a:ln w="9525" cap="rnd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8" name="矩形 77"/>
          <p:cNvSpPr/>
          <p:nvPr/>
        </p:nvSpPr>
        <p:spPr>
          <a:xfrm>
            <a:off x="1186401" y="5499334"/>
            <a:ext cx="547762" cy="278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5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单点</a:t>
            </a:r>
            <a:endParaRPr lang="zh-CN" altLang="en-US" sz="105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2742267" y="5490190"/>
            <a:ext cx="547762" cy="2782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r>
              <a:rPr lang="zh-CN" altLang="en-US" sz="105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集群</a:t>
            </a:r>
            <a:endParaRPr lang="zh-CN" altLang="en-US" sz="105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80" name="圆角矩形 79"/>
          <p:cNvSpPr/>
          <p:nvPr/>
        </p:nvSpPr>
        <p:spPr>
          <a:xfrm>
            <a:off x="4527436" y="4137263"/>
            <a:ext cx="1715203" cy="856021"/>
          </a:xfrm>
          <a:prstGeom prst="roundRect">
            <a:avLst>
              <a:gd name="adj" fmla="val 1174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81" name="矩形 80"/>
          <p:cNvSpPr/>
          <p:nvPr/>
        </p:nvSpPr>
        <p:spPr>
          <a:xfrm>
            <a:off x="4418816" y="3751024"/>
            <a:ext cx="5248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标准生产、投产考</a:t>
            </a: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核、数</a:t>
            </a: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字巡检、优胜略汰</a:t>
            </a:r>
          </a:p>
        </p:txBody>
      </p:sp>
      <p:sp>
        <p:nvSpPr>
          <p:cNvPr id="82" name="矩形 81"/>
          <p:cNvSpPr/>
          <p:nvPr/>
        </p:nvSpPr>
        <p:spPr>
          <a:xfrm>
            <a:off x="4556011" y="4130793"/>
            <a:ext cx="119697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需</a:t>
            </a: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求设计</a:t>
            </a:r>
            <a:endParaRPr lang="zh-CN" altLang="en-US" sz="140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投产评估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开</a:t>
            </a:r>
            <a:r>
              <a:rPr lang="zh-CN" altLang="en-US" sz="140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发上</a:t>
            </a: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线</a:t>
            </a:r>
          </a:p>
        </p:txBody>
      </p:sp>
      <p:sp>
        <p:nvSpPr>
          <p:cNvPr id="83" name="圆角矩形 82"/>
          <p:cNvSpPr/>
          <p:nvPr/>
        </p:nvSpPr>
        <p:spPr>
          <a:xfrm>
            <a:off x="6581871" y="4106431"/>
            <a:ext cx="1715203" cy="846232"/>
          </a:xfrm>
          <a:prstGeom prst="roundRect">
            <a:avLst>
              <a:gd name="adj" fmla="val 1174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6674082" y="5101861"/>
            <a:ext cx="1610759" cy="899870"/>
          </a:xfrm>
          <a:prstGeom prst="roundRect">
            <a:avLst>
              <a:gd name="adj" fmla="val 1174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  <a:defRPr/>
            </a:pPr>
            <a:endParaRPr lang="zh-CN" altLang="en-US" sz="1400" b="1" kern="0" dirty="0" smtClean="0"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7119326" y="4099961"/>
            <a:ext cx="122976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任务进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运转状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数字巡检</a:t>
            </a:r>
          </a:p>
        </p:txBody>
      </p:sp>
      <p:sp>
        <p:nvSpPr>
          <p:cNvPr id="86" name="矩形 85"/>
          <p:cNvSpPr/>
          <p:nvPr/>
        </p:nvSpPr>
        <p:spPr>
          <a:xfrm>
            <a:off x="7127840" y="5284600"/>
            <a:ext cx="122976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自我抽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异常诊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>
                <a:latin typeface="华文楷体" panose="02010600040101010101" pitchFamily="2" charset="-122"/>
                <a:ea typeface="华文楷体" panose="02010600040101010101" pitchFamily="2" charset="-122"/>
              </a:rPr>
              <a:t>维修手册</a:t>
            </a:r>
          </a:p>
        </p:txBody>
      </p:sp>
      <p:graphicFrame>
        <p:nvGraphicFramePr>
          <p:cNvPr id="87" name="图示 86"/>
          <p:cNvGraphicFramePr/>
          <p:nvPr>
            <p:extLst>
              <p:ext uri="{D42A27DB-BD31-4B8C-83A1-F6EECF244321}">
                <p14:modId xmlns:p14="http://schemas.microsoft.com/office/powerpoint/2010/main" val="2757234188"/>
              </p:ext>
            </p:extLst>
          </p:nvPr>
        </p:nvGraphicFramePr>
        <p:xfrm>
          <a:off x="5169302" y="4207999"/>
          <a:ext cx="2610801" cy="17767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8" name="矩形 87"/>
          <p:cNvSpPr/>
          <p:nvPr/>
        </p:nvSpPr>
        <p:spPr>
          <a:xfrm>
            <a:off x="6369339" y="1638252"/>
            <a:ext cx="550882" cy="35224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VS</a:t>
            </a:r>
            <a:endParaRPr kumimoji="0" lang="zh-CN" altLang="en-US" sz="1800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grpSp>
        <p:nvGrpSpPr>
          <p:cNvPr id="89" name="组合 88"/>
          <p:cNvGrpSpPr/>
          <p:nvPr/>
        </p:nvGrpSpPr>
        <p:grpSpPr>
          <a:xfrm>
            <a:off x="5451625" y="1539693"/>
            <a:ext cx="800220" cy="644826"/>
            <a:chOff x="7781779" y="1833067"/>
            <a:chExt cx="939044" cy="773815"/>
          </a:xfrm>
          <a:noFill/>
        </p:grpSpPr>
        <p:sp>
          <p:nvSpPr>
            <p:cNvPr id="90" name="investments-protection_73204">
              <a:extLst>
                <a:ext uri="{FF2B5EF4-FFF2-40B4-BE49-F238E27FC236}">
                  <a16:creationId xmlns:a16="http://schemas.microsoft.com/office/drawing/2014/main" id="{54405246-CCE2-4201-BBB1-D3F3EB6E74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5666" y="1833067"/>
              <a:ext cx="432000" cy="432000"/>
            </a:xfrm>
            <a:custGeom>
              <a:avLst/>
              <a:gdLst>
                <a:gd name="T0" fmla="*/ 5547 w 12800"/>
                <a:gd name="T1" fmla="*/ 10240 h 12800"/>
                <a:gd name="T2" fmla="*/ 2133 w 12800"/>
                <a:gd name="T3" fmla="*/ 11947 h 12800"/>
                <a:gd name="T4" fmla="*/ 10667 w 12800"/>
                <a:gd name="T5" fmla="*/ 10240 h 12800"/>
                <a:gd name="T6" fmla="*/ 7680 w 12800"/>
                <a:gd name="T7" fmla="*/ 9387 h 12800"/>
                <a:gd name="T8" fmla="*/ 11520 w 12800"/>
                <a:gd name="T9" fmla="*/ 10240 h 12800"/>
                <a:gd name="T10" fmla="*/ 10667 w 12800"/>
                <a:gd name="T11" fmla="*/ 12800 h 12800"/>
                <a:gd name="T12" fmla="*/ 1280 w 12800"/>
                <a:gd name="T13" fmla="*/ 11947 h 12800"/>
                <a:gd name="T14" fmla="*/ 2133 w 12800"/>
                <a:gd name="T15" fmla="*/ 9387 h 12800"/>
                <a:gd name="T16" fmla="*/ 3413 w 12800"/>
                <a:gd name="T17" fmla="*/ 853 h 12800"/>
                <a:gd name="T18" fmla="*/ 10240 w 12800"/>
                <a:gd name="T19" fmla="*/ 1707 h 12800"/>
                <a:gd name="T20" fmla="*/ 9387 w 12800"/>
                <a:gd name="T21" fmla="*/ 8533 h 12800"/>
                <a:gd name="T22" fmla="*/ 2560 w 12800"/>
                <a:gd name="T23" fmla="*/ 7680 h 12800"/>
                <a:gd name="T24" fmla="*/ 3413 w 12800"/>
                <a:gd name="T25" fmla="*/ 853 h 12800"/>
                <a:gd name="T26" fmla="*/ 3413 w 12800"/>
                <a:gd name="T27" fmla="*/ 7680 h 12800"/>
                <a:gd name="T28" fmla="*/ 9387 w 12800"/>
                <a:gd name="T29" fmla="*/ 1707 h 12800"/>
                <a:gd name="T30" fmla="*/ 11093 w 12800"/>
                <a:gd name="T31" fmla="*/ 2987 h 12800"/>
                <a:gd name="T32" fmla="*/ 11520 w 12800"/>
                <a:gd name="T33" fmla="*/ 5973 h 12800"/>
                <a:gd name="T34" fmla="*/ 10667 w 12800"/>
                <a:gd name="T35" fmla="*/ 5973 h 12800"/>
                <a:gd name="T36" fmla="*/ 11093 w 12800"/>
                <a:gd name="T37" fmla="*/ 2987 h 12800"/>
                <a:gd name="T38" fmla="*/ 2133 w 12800"/>
                <a:gd name="T39" fmla="*/ 3413 h 12800"/>
                <a:gd name="T40" fmla="*/ 1707 w 12800"/>
                <a:gd name="T41" fmla="*/ 6400 h 12800"/>
                <a:gd name="T42" fmla="*/ 1280 w 12800"/>
                <a:gd name="T43" fmla="*/ 3413 h 12800"/>
                <a:gd name="T44" fmla="*/ 12373 w 12800"/>
                <a:gd name="T45" fmla="*/ 3840 h 12800"/>
                <a:gd name="T46" fmla="*/ 12800 w 12800"/>
                <a:gd name="T47" fmla="*/ 5120 h 12800"/>
                <a:gd name="T48" fmla="*/ 11947 w 12800"/>
                <a:gd name="T49" fmla="*/ 5120 h 12800"/>
                <a:gd name="T50" fmla="*/ 12373 w 12800"/>
                <a:gd name="T51" fmla="*/ 3840 h 12800"/>
                <a:gd name="T52" fmla="*/ 853 w 12800"/>
                <a:gd name="T53" fmla="*/ 4267 h 12800"/>
                <a:gd name="T54" fmla="*/ 427 w 12800"/>
                <a:gd name="T55" fmla="*/ 5547 h 12800"/>
                <a:gd name="T56" fmla="*/ 0 w 12800"/>
                <a:gd name="T57" fmla="*/ 4267 h 12800"/>
                <a:gd name="T58" fmla="*/ 4693 w 12800"/>
                <a:gd name="T59" fmla="*/ 5120 h 12800"/>
                <a:gd name="T60" fmla="*/ 4693 w 12800"/>
                <a:gd name="T61" fmla="*/ 3840 h 12800"/>
                <a:gd name="T62" fmla="*/ 4693 w 12800"/>
                <a:gd name="T63" fmla="*/ 5120 h 12800"/>
                <a:gd name="T64" fmla="*/ 8747 w 12800"/>
                <a:gd name="T65" fmla="*/ 4480 h 12800"/>
                <a:gd name="T66" fmla="*/ 7467 w 12800"/>
                <a:gd name="T67" fmla="*/ 4480 h 12800"/>
                <a:gd name="T68" fmla="*/ 6400 w 12800"/>
                <a:gd name="T69" fmla="*/ 0 h 12800"/>
                <a:gd name="T70" fmla="*/ 6827 w 12800"/>
                <a:gd name="T71" fmla="*/ 1280 h 12800"/>
                <a:gd name="T72" fmla="*/ 5973 w 12800"/>
                <a:gd name="T73" fmla="*/ 1280 h 12800"/>
                <a:gd name="T74" fmla="*/ 6400 w 12800"/>
                <a:gd name="T75" fmla="*/ 0 h 12800"/>
                <a:gd name="T76" fmla="*/ 5973 w 12800"/>
                <a:gd name="T77" fmla="*/ 8107 h 12800"/>
                <a:gd name="T78" fmla="*/ 5547 w 12800"/>
                <a:gd name="T79" fmla="*/ 10240 h 12800"/>
                <a:gd name="T80" fmla="*/ 5120 w 12800"/>
                <a:gd name="T81" fmla="*/ 8107 h 12800"/>
                <a:gd name="T82" fmla="*/ 7253 w 12800"/>
                <a:gd name="T83" fmla="*/ 7680 h 12800"/>
                <a:gd name="T84" fmla="*/ 7680 w 12800"/>
                <a:gd name="T85" fmla="*/ 9813 h 12800"/>
                <a:gd name="T86" fmla="*/ 6827 w 12800"/>
                <a:gd name="T87" fmla="*/ 9813 h 12800"/>
                <a:gd name="T88" fmla="*/ 7253 w 12800"/>
                <a:gd name="T89" fmla="*/ 76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800" h="12800">
                  <a:moveTo>
                    <a:pt x="5120" y="9387"/>
                  </a:moveTo>
                  <a:lnTo>
                    <a:pt x="5547" y="10240"/>
                  </a:lnTo>
                  <a:lnTo>
                    <a:pt x="2133" y="10240"/>
                  </a:lnTo>
                  <a:lnTo>
                    <a:pt x="2133" y="11947"/>
                  </a:lnTo>
                  <a:lnTo>
                    <a:pt x="10667" y="11947"/>
                  </a:lnTo>
                  <a:lnTo>
                    <a:pt x="10667" y="10240"/>
                  </a:lnTo>
                  <a:lnTo>
                    <a:pt x="7253" y="10240"/>
                  </a:lnTo>
                  <a:lnTo>
                    <a:pt x="7680" y="9387"/>
                  </a:lnTo>
                  <a:lnTo>
                    <a:pt x="10667" y="9387"/>
                  </a:lnTo>
                  <a:cubicBezTo>
                    <a:pt x="11138" y="9387"/>
                    <a:pt x="11520" y="9769"/>
                    <a:pt x="11520" y="10240"/>
                  </a:cubicBezTo>
                  <a:lnTo>
                    <a:pt x="11520" y="11947"/>
                  </a:lnTo>
                  <a:cubicBezTo>
                    <a:pt x="11520" y="12418"/>
                    <a:pt x="11138" y="12800"/>
                    <a:pt x="10667" y="12800"/>
                  </a:cubicBezTo>
                  <a:lnTo>
                    <a:pt x="2133" y="12800"/>
                  </a:lnTo>
                  <a:cubicBezTo>
                    <a:pt x="1662" y="12800"/>
                    <a:pt x="1280" y="12418"/>
                    <a:pt x="1280" y="11947"/>
                  </a:cubicBezTo>
                  <a:lnTo>
                    <a:pt x="1280" y="10240"/>
                  </a:lnTo>
                  <a:cubicBezTo>
                    <a:pt x="1280" y="9769"/>
                    <a:pt x="1662" y="9387"/>
                    <a:pt x="2133" y="9387"/>
                  </a:cubicBezTo>
                  <a:lnTo>
                    <a:pt x="5120" y="9387"/>
                  </a:lnTo>
                  <a:close/>
                  <a:moveTo>
                    <a:pt x="3413" y="853"/>
                  </a:moveTo>
                  <a:lnTo>
                    <a:pt x="9387" y="853"/>
                  </a:lnTo>
                  <a:cubicBezTo>
                    <a:pt x="9858" y="853"/>
                    <a:pt x="10240" y="1235"/>
                    <a:pt x="10240" y="1707"/>
                  </a:cubicBezTo>
                  <a:lnTo>
                    <a:pt x="10240" y="7680"/>
                  </a:lnTo>
                  <a:cubicBezTo>
                    <a:pt x="10240" y="8151"/>
                    <a:pt x="9858" y="8533"/>
                    <a:pt x="9387" y="8533"/>
                  </a:cubicBezTo>
                  <a:lnTo>
                    <a:pt x="3413" y="8533"/>
                  </a:lnTo>
                  <a:cubicBezTo>
                    <a:pt x="2942" y="8533"/>
                    <a:pt x="2560" y="8151"/>
                    <a:pt x="2560" y="7680"/>
                  </a:cubicBezTo>
                  <a:lnTo>
                    <a:pt x="2560" y="1707"/>
                  </a:lnTo>
                  <a:cubicBezTo>
                    <a:pt x="2560" y="1235"/>
                    <a:pt x="2942" y="853"/>
                    <a:pt x="3413" y="853"/>
                  </a:cubicBezTo>
                  <a:close/>
                  <a:moveTo>
                    <a:pt x="3413" y="1707"/>
                  </a:moveTo>
                  <a:lnTo>
                    <a:pt x="3413" y="7680"/>
                  </a:lnTo>
                  <a:lnTo>
                    <a:pt x="9387" y="7680"/>
                  </a:lnTo>
                  <a:lnTo>
                    <a:pt x="9387" y="1707"/>
                  </a:lnTo>
                  <a:lnTo>
                    <a:pt x="3413" y="1707"/>
                  </a:lnTo>
                  <a:close/>
                  <a:moveTo>
                    <a:pt x="11093" y="2987"/>
                  </a:moveTo>
                  <a:cubicBezTo>
                    <a:pt x="11329" y="2987"/>
                    <a:pt x="11520" y="3178"/>
                    <a:pt x="11520" y="3413"/>
                  </a:cubicBezTo>
                  <a:lnTo>
                    <a:pt x="11520" y="5973"/>
                  </a:lnTo>
                  <a:cubicBezTo>
                    <a:pt x="11520" y="6209"/>
                    <a:pt x="11329" y="6400"/>
                    <a:pt x="11093" y="6400"/>
                  </a:cubicBezTo>
                  <a:cubicBezTo>
                    <a:pt x="10858" y="6400"/>
                    <a:pt x="10667" y="6209"/>
                    <a:pt x="10667" y="5973"/>
                  </a:cubicBezTo>
                  <a:lnTo>
                    <a:pt x="10667" y="3413"/>
                  </a:lnTo>
                  <a:cubicBezTo>
                    <a:pt x="10667" y="3178"/>
                    <a:pt x="10858" y="2987"/>
                    <a:pt x="11093" y="2987"/>
                  </a:cubicBezTo>
                  <a:close/>
                  <a:moveTo>
                    <a:pt x="1707" y="2987"/>
                  </a:moveTo>
                  <a:cubicBezTo>
                    <a:pt x="1942" y="2987"/>
                    <a:pt x="2133" y="3178"/>
                    <a:pt x="2133" y="3413"/>
                  </a:cubicBezTo>
                  <a:lnTo>
                    <a:pt x="2133" y="5973"/>
                  </a:lnTo>
                  <a:cubicBezTo>
                    <a:pt x="2133" y="6209"/>
                    <a:pt x="1942" y="6400"/>
                    <a:pt x="1707" y="6400"/>
                  </a:cubicBezTo>
                  <a:cubicBezTo>
                    <a:pt x="1471" y="6400"/>
                    <a:pt x="1280" y="6209"/>
                    <a:pt x="1280" y="5973"/>
                  </a:cubicBezTo>
                  <a:lnTo>
                    <a:pt x="1280" y="3413"/>
                  </a:lnTo>
                  <a:cubicBezTo>
                    <a:pt x="1280" y="3178"/>
                    <a:pt x="1471" y="2987"/>
                    <a:pt x="1707" y="2987"/>
                  </a:cubicBezTo>
                  <a:close/>
                  <a:moveTo>
                    <a:pt x="12373" y="3840"/>
                  </a:moveTo>
                  <a:cubicBezTo>
                    <a:pt x="12609" y="3840"/>
                    <a:pt x="12800" y="4031"/>
                    <a:pt x="12800" y="4267"/>
                  </a:cubicBezTo>
                  <a:lnTo>
                    <a:pt x="12800" y="5120"/>
                  </a:lnTo>
                  <a:cubicBezTo>
                    <a:pt x="12800" y="5356"/>
                    <a:pt x="12609" y="5547"/>
                    <a:pt x="12373" y="5547"/>
                  </a:cubicBezTo>
                  <a:cubicBezTo>
                    <a:pt x="12138" y="5547"/>
                    <a:pt x="11947" y="5356"/>
                    <a:pt x="11947" y="5120"/>
                  </a:cubicBezTo>
                  <a:lnTo>
                    <a:pt x="11947" y="4267"/>
                  </a:lnTo>
                  <a:cubicBezTo>
                    <a:pt x="11947" y="4031"/>
                    <a:pt x="12138" y="3840"/>
                    <a:pt x="12373" y="3840"/>
                  </a:cubicBezTo>
                  <a:close/>
                  <a:moveTo>
                    <a:pt x="427" y="3840"/>
                  </a:moveTo>
                  <a:cubicBezTo>
                    <a:pt x="662" y="3840"/>
                    <a:pt x="853" y="4031"/>
                    <a:pt x="853" y="4267"/>
                  </a:cubicBezTo>
                  <a:lnTo>
                    <a:pt x="853" y="5120"/>
                  </a:lnTo>
                  <a:cubicBezTo>
                    <a:pt x="853" y="5356"/>
                    <a:pt x="662" y="5547"/>
                    <a:pt x="427" y="5547"/>
                  </a:cubicBezTo>
                  <a:cubicBezTo>
                    <a:pt x="191" y="5547"/>
                    <a:pt x="0" y="5356"/>
                    <a:pt x="0" y="5120"/>
                  </a:cubicBezTo>
                  <a:lnTo>
                    <a:pt x="0" y="4267"/>
                  </a:lnTo>
                  <a:cubicBezTo>
                    <a:pt x="0" y="4031"/>
                    <a:pt x="191" y="3840"/>
                    <a:pt x="427" y="3840"/>
                  </a:cubicBezTo>
                  <a:close/>
                  <a:moveTo>
                    <a:pt x="4693" y="5120"/>
                  </a:moveTo>
                  <a:cubicBezTo>
                    <a:pt x="5047" y="5120"/>
                    <a:pt x="5333" y="4833"/>
                    <a:pt x="5333" y="4480"/>
                  </a:cubicBezTo>
                  <a:cubicBezTo>
                    <a:pt x="5333" y="4127"/>
                    <a:pt x="5047" y="3840"/>
                    <a:pt x="4693" y="3840"/>
                  </a:cubicBezTo>
                  <a:cubicBezTo>
                    <a:pt x="4340" y="3840"/>
                    <a:pt x="4053" y="4127"/>
                    <a:pt x="4053" y="4480"/>
                  </a:cubicBezTo>
                  <a:cubicBezTo>
                    <a:pt x="4053" y="4833"/>
                    <a:pt x="4340" y="5120"/>
                    <a:pt x="4693" y="5120"/>
                  </a:cubicBezTo>
                  <a:close/>
                  <a:moveTo>
                    <a:pt x="8107" y="5120"/>
                  </a:moveTo>
                  <a:cubicBezTo>
                    <a:pt x="8460" y="5120"/>
                    <a:pt x="8747" y="4833"/>
                    <a:pt x="8747" y="4480"/>
                  </a:cubicBezTo>
                  <a:cubicBezTo>
                    <a:pt x="8747" y="4127"/>
                    <a:pt x="8460" y="3840"/>
                    <a:pt x="8107" y="3840"/>
                  </a:cubicBezTo>
                  <a:cubicBezTo>
                    <a:pt x="7753" y="3840"/>
                    <a:pt x="7467" y="4127"/>
                    <a:pt x="7467" y="4480"/>
                  </a:cubicBezTo>
                  <a:cubicBezTo>
                    <a:pt x="7467" y="4833"/>
                    <a:pt x="7753" y="5120"/>
                    <a:pt x="8107" y="5120"/>
                  </a:cubicBezTo>
                  <a:close/>
                  <a:moveTo>
                    <a:pt x="6400" y="0"/>
                  </a:moveTo>
                  <a:cubicBezTo>
                    <a:pt x="6636" y="0"/>
                    <a:pt x="6827" y="191"/>
                    <a:pt x="6827" y="427"/>
                  </a:cubicBezTo>
                  <a:lnTo>
                    <a:pt x="6827" y="1280"/>
                  </a:lnTo>
                  <a:cubicBezTo>
                    <a:pt x="6827" y="1516"/>
                    <a:pt x="6636" y="1707"/>
                    <a:pt x="6400" y="1707"/>
                  </a:cubicBezTo>
                  <a:cubicBezTo>
                    <a:pt x="6164" y="1707"/>
                    <a:pt x="5973" y="1516"/>
                    <a:pt x="5973" y="1280"/>
                  </a:cubicBezTo>
                  <a:lnTo>
                    <a:pt x="5973" y="427"/>
                  </a:lnTo>
                  <a:cubicBezTo>
                    <a:pt x="5973" y="191"/>
                    <a:pt x="6164" y="0"/>
                    <a:pt x="6400" y="0"/>
                  </a:cubicBezTo>
                  <a:close/>
                  <a:moveTo>
                    <a:pt x="5547" y="7680"/>
                  </a:moveTo>
                  <a:cubicBezTo>
                    <a:pt x="5782" y="7680"/>
                    <a:pt x="5973" y="7871"/>
                    <a:pt x="5973" y="8107"/>
                  </a:cubicBezTo>
                  <a:lnTo>
                    <a:pt x="5973" y="9813"/>
                  </a:lnTo>
                  <a:cubicBezTo>
                    <a:pt x="5973" y="10049"/>
                    <a:pt x="5782" y="10240"/>
                    <a:pt x="5547" y="10240"/>
                  </a:cubicBezTo>
                  <a:cubicBezTo>
                    <a:pt x="5311" y="10240"/>
                    <a:pt x="5120" y="10049"/>
                    <a:pt x="5120" y="9813"/>
                  </a:cubicBezTo>
                  <a:lnTo>
                    <a:pt x="5120" y="8107"/>
                  </a:lnTo>
                  <a:cubicBezTo>
                    <a:pt x="5120" y="7871"/>
                    <a:pt x="5311" y="7680"/>
                    <a:pt x="5547" y="7680"/>
                  </a:cubicBezTo>
                  <a:close/>
                  <a:moveTo>
                    <a:pt x="7253" y="7680"/>
                  </a:moveTo>
                  <a:cubicBezTo>
                    <a:pt x="7489" y="7680"/>
                    <a:pt x="7680" y="7871"/>
                    <a:pt x="7680" y="8107"/>
                  </a:cubicBezTo>
                  <a:lnTo>
                    <a:pt x="7680" y="9813"/>
                  </a:lnTo>
                  <a:cubicBezTo>
                    <a:pt x="7680" y="10049"/>
                    <a:pt x="7489" y="10240"/>
                    <a:pt x="7253" y="10240"/>
                  </a:cubicBezTo>
                  <a:cubicBezTo>
                    <a:pt x="7018" y="10240"/>
                    <a:pt x="6827" y="10049"/>
                    <a:pt x="6827" y="9813"/>
                  </a:cubicBezTo>
                  <a:lnTo>
                    <a:pt x="6827" y="8107"/>
                  </a:lnTo>
                  <a:cubicBezTo>
                    <a:pt x="6827" y="7871"/>
                    <a:pt x="7018" y="7680"/>
                    <a:pt x="7253" y="768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91" name="矩形 90"/>
            <p:cNvSpPr/>
            <p:nvPr/>
          </p:nvSpPr>
          <p:spPr>
            <a:xfrm>
              <a:off x="7781779" y="2274473"/>
              <a:ext cx="939044" cy="33240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 b="1">
                  <a:latin typeface="华文楷体" panose="02010600040101010101" pitchFamily="2" charset="-122"/>
                  <a:ea typeface="华文楷体" panose="02010600040101010101" pitchFamily="2" charset="-122"/>
                </a:rPr>
                <a:t>数</a:t>
              </a:r>
              <a:r>
                <a:rPr lang="zh-CN" altLang="en-US" sz="1200" b="1" smtClean="0">
                  <a:latin typeface="华文楷体" panose="02010600040101010101" pitchFamily="2" charset="-122"/>
                  <a:ea typeface="华文楷体" panose="02010600040101010101" pitchFamily="2" charset="-122"/>
                </a:rPr>
                <a:t>字员工</a:t>
              </a:r>
              <a:endParaRPr lang="en-US" altLang="zh-CN" sz="1200" b="1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grpSp>
        <p:nvGrpSpPr>
          <p:cNvPr id="92" name="组合 91"/>
          <p:cNvGrpSpPr/>
          <p:nvPr/>
        </p:nvGrpSpPr>
        <p:grpSpPr>
          <a:xfrm>
            <a:off x="7068194" y="1551016"/>
            <a:ext cx="800220" cy="664151"/>
            <a:chOff x="8875908" y="1823923"/>
            <a:chExt cx="939044" cy="797004"/>
          </a:xfrm>
          <a:noFill/>
        </p:grpSpPr>
        <p:sp>
          <p:nvSpPr>
            <p:cNvPr id="93" name="Freeform 78"/>
            <p:cNvSpPr>
              <a:spLocks noChangeAspect="1"/>
            </p:cNvSpPr>
            <p:nvPr/>
          </p:nvSpPr>
          <p:spPr bwMode="auto">
            <a:xfrm>
              <a:off x="9129435" y="1823923"/>
              <a:ext cx="396000" cy="444120"/>
            </a:xfrm>
            <a:custGeom>
              <a:avLst/>
              <a:gdLst/>
              <a:ahLst/>
              <a:cxnLst/>
              <a:rect l="l" t="t" r="r" b="b"/>
              <a:pathLst>
                <a:path w="482423" h="541044">
                  <a:moveTo>
                    <a:pt x="181738" y="288925"/>
                  </a:moveTo>
                  <a:cubicBezTo>
                    <a:pt x="181761" y="288985"/>
                    <a:pt x="230514" y="416689"/>
                    <a:pt x="294264" y="288925"/>
                  </a:cubicBezTo>
                  <a:cubicBezTo>
                    <a:pt x="294264" y="288953"/>
                    <a:pt x="294305" y="300219"/>
                    <a:pt x="328022" y="315235"/>
                  </a:cubicBezTo>
                  <a:cubicBezTo>
                    <a:pt x="328075" y="315252"/>
                    <a:pt x="388041" y="334039"/>
                    <a:pt x="399288" y="356580"/>
                  </a:cubicBezTo>
                  <a:cubicBezTo>
                    <a:pt x="399321" y="356653"/>
                    <a:pt x="433042" y="431786"/>
                    <a:pt x="425544" y="499408"/>
                  </a:cubicBezTo>
                  <a:cubicBezTo>
                    <a:pt x="425544" y="499422"/>
                    <a:pt x="425534" y="500362"/>
                    <a:pt x="424138" y="502227"/>
                  </a:cubicBezTo>
                  <a:lnTo>
                    <a:pt x="414292" y="510684"/>
                  </a:lnTo>
                  <a:cubicBezTo>
                    <a:pt x="414209" y="510720"/>
                    <a:pt x="335468" y="544510"/>
                    <a:pt x="230500" y="540753"/>
                  </a:cubicBezTo>
                  <a:cubicBezTo>
                    <a:pt x="230402" y="540750"/>
                    <a:pt x="125446" y="536981"/>
                    <a:pt x="61711" y="506926"/>
                  </a:cubicBezTo>
                  <a:cubicBezTo>
                    <a:pt x="61679" y="506926"/>
                    <a:pt x="50458" y="506894"/>
                    <a:pt x="50458" y="484374"/>
                  </a:cubicBezTo>
                  <a:cubicBezTo>
                    <a:pt x="50461" y="484301"/>
                    <a:pt x="54220" y="390391"/>
                    <a:pt x="84216" y="345305"/>
                  </a:cubicBezTo>
                  <a:cubicBezTo>
                    <a:pt x="84240" y="345268"/>
                    <a:pt x="91748" y="334016"/>
                    <a:pt x="110472" y="326511"/>
                  </a:cubicBezTo>
                  <a:cubicBezTo>
                    <a:pt x="110536" y="326494"/>
                    <a:pt x="177989" y="307709"/>
                    <a:pt x="181738" y="288925"/>
                  </a:cubicBezTo>
                  <a:close/>
                  <a:moveTo>
                    <a:pt x="223399" y="64637"/>
                  </a:moveTo>
                  <a:cubicBezTo>
                    <a:pt x="223377" y="64659"/>
                    <a:pt x="219673" y="68392"/>
                    <a:pt x="219673" y="72125"/>
                  </a:cubicBezTo>
                  <a:lnTo>
                    <a:pt x="218741" y="69317"/>
                  </a:lnTo>
                  <a:cubicBezTo>
                    <a:pt x="220555" y="68481"/>
                    <a:pt x="221486" y="66559"/>
                    <a:pt x="223399" y="64637"/>
                  </a:cubicBezTo>
                  <a:close/>
                  <a:moveTo>
                    <a:pt x="346888" y="60325"/>
                  </a:moveTo>
                  <a:cubicBezTo>
                    <a:pt x="395667" y="71551"/>
                    <a:pt x="421933" y="116454"/>
                    <a:pt x="410676" y="161358"/>
                  </a:cubicBezTo>
                  <a:lnTo>
                    <a:pt x="406924" y="165100"/>
                  </a:lnTo>
                  <a:cubicBezTo>
                    <a:pt x="406919" y="165098"/>
                    <a:pt x="406569" y="164982"/>
                    <a:pt x="384410" y="157616"/>
                  </a:cubicBezTo>
                  <a:cubicBezTo>
                    <a:pt x="391915" y="127680"/>
                    <a:pt x="373154" y="94003"/>
                    <a:pt x="343135" y="86519"/>
                  </a:cubicBezTo>
                  <a:cubicBezTo>
                    <a:pt x="339383" y="86519"/>
                    <a:pt x="339383" y="86519"/>
                    <a:pt x="346888" y="60325"/>
                  </a:cubicBezTo>
                  <a:close/>
                  <a:moveTo>
                    <a:pt x="245753" y="57150"/>
                  </a:moveTo>
                  <a:lnTo>
                    <a:pt x="242773" y="61642"/>
                  </a:lnTo>
                  <a:lnTo>
                    <a:pt x="245753" y="60894"/>
                  </a:lnTo>
                  <a:cubicBezTo>
                    <a:pt x="245753" y="68381"/>
                    <a:pt x="256931" y="75868"/>
                    <a:pt x="260656" y="79612"/>
                  </a:cubicBezTo>
                  <a:cubicBezTo>
                    <a:pt x="260684" y="79612"/>
                    <a:pt x="264382" y="79626"/>
                    <a:pt x="264382" y="83356"/>
                  </a:cubicBezTo>
                  <a:lnTo>
                    <a:pt x="263140" y="80860"/>
                  </a:lnTo>
                  <a:lnTo>
                    <a:pt x="268108" y="83356"/>
                  </a:lnTo>
                  <a:lnTo>
                    <a:pt x="271834" y="83356"/>
                  </a:lnTo>
                  <a:cubicBezTo>
                    <a:pt x="297901" y="90839"/>
                    <a:pt x="309080" y="105802"/>
                    <a:pt x="309091" y="105817"/>
                  </a:cubicBezTo>
                  <a:cubicBezTo>
                    <a:pt x="331446" y="132023"/>
                    <a:pt x="320269" y="176947"/>
                    <a:pt x="316543" y="184434"/>
                  </a:cubicBezTo>
                  <a:cubicBezTo>
                    <a:pt x="327716" y="184434"/>
                    <a:pt x="320275" y="210619"/>
                    <a:pt x="320269" y="210640"/>
                  </a:cubicBezTo>
                  <a:cubicBezTo>
                    <a:pt x="320269" y="218127"/>
                    <a:pt x="316543" y="221871"/>
                    <a:pt x="312817" y="225614"/>
                  </a:cubicBezTo>
                  <a:cubicBezTo>
                    <a:pt x="309091" y="263051"/>
                    <a:pt x="271834" y="307975"/>
                    <a:pt x="238302" y="307975"/>
                  </a:cubicBezTo>
                  <a:cubicBezTo>
                    <a:pt x="204770" y="307975"/>
                    <a:pt x="171238" y="263051"/>
                    <a:pt x="163786" y="225614"/>
                  </a:cubicBezTo>
                  <a:lnTo>
                    <a:pt x="160060" y="210640"/>
                  </a:lnTo>
                  <a:cubicBezTo>
                    <a:pt x="160045" y="210598"/>
                    <a:pt x="148894" y="180696"/>
                    <a:pt x="163786" y="188178"/>
                  </a:cubicBezTo>
                  <a:cubicBezTo>
                    <a:pt x="152616" y="139540"/>
                    <a:pt x="160051" y="124554"/>
                    <a:pt x="160060" y="124536"/>
                  </a:cubicBezTo>
                  <a:cubicBezTo>
                    <a:pt x="171233" y="90859"/>
                    <a:pt x="208460" y="72142"/>
                    <a:pt x="208496" y="72125"/>
                  </a:cubicBezTo>
                  <a:lnTo>
                    <a:pt x="216549" y="67932"/>
                  </a:lnTo>
                  <a:lnTo>
                    <a:pt x="218741" y="69317"/>
                  </a:lnTo>
                  <a:lnTo>
                    <a:pt x="215947" y="72125"/>
                  </a:lnTo>
                  <a:cubicBezTo>
                    <a:pt x="215953" y="72127"/>
                    <a:pt x="216018" y="72160"/>
                    <a:pt x="216879" y="72593"/>
                  </a:cubicBezTo>
                  <a:lnTo>
                    <a:pt x="223399" y="75868"/>
                  </a:lnTo>
                  <a:cubicBezTo>
                    <a:pt x="223399" y="72125"/>
                    <a:pt x="227124" y="68381"/>
                    <a:pt x="230384" y="66977"/>
                  </a:cubicBezTo>
                  <a:cubicBezTo>
                    <a:pt x="232713" y="64637"/>
                    <a:pt x="234576" y="62765"/>
                    <a:pt x="234576" y="60894"/>
                  </a:cubicBezTo>
                  <a:cubicBezTo>
                    <a:pt x="238297" y="57154"/>
                    <a:pt x="245735" y="57150"/>
                    <a:pt x="245753" y="57150"/>
                  </a:cubicBezTo>
                  <a:close/>
                  <a:moveTo>
                    <a:pt x="133441" y="57150"/>
                  </a:moveTo>
                  <a:cubicBezTo>
                    <a:pt x="133444" y="57161"/>
                    <a:pt x="133595" y="57687"/>
                    <a:pt x="140945" y="83344"/>
                  </a:cubicBezTo>
                  <a:cubicBezTo>
                    <a:pt x="107175" y="90828"/>
                    <a:pt x="88413" y="124505"/>
                    <a:pt x="95918" y="154441"/>
                  </a:cubicBezTo>
                  <a:cubicBezTo>
                    <a:pt x="95918" y="158183"/>
                    <a:pt x="95918" y="158183"/>
                    <a:pt x="73404" y="161925"/>
                  </a:cubicBezTo>
                  <a:cubicBezTo>
                    <a:pt x="58395" y="113279"/>
                    <a:pt x="84661" y="68376"/>
                    <a:pt x="133441" y="57150"/>
                  </a:cubicBezTo>
                  <a:close/>
                  <a:moveTo>
                    <a:pt x="384925" y="4762"/>
                  </a:moveTo>
                  <a:cubicBezTo>
                    <a:pt x="455618" y="19730"/>
                    <a:pt x="496546" y="90827"/>
                    <a:pt x="477943" y="158182"/>
                  </a:cubicBezTo>
                  <a:cubicBezTo>
                    <a:pt x="477943" y="161924"/>
                    <a:pt x="477943" y="161924"/>
                    <a:pt x="451898" y="154440"/>
                  </a:cubicBezTo>
                  <a:cubicBezTo>
                    <a:pt x="463060" y="98311"/>
                    <a:pt x="433294" y="45923"/>
                    <a:pt x="381204" y="30956"/>
                  </a:cubicBezTo>
                  <a:cubicBezTo>
                    <a:pt x="377483" y="30956"/>
                    <a:pt x="377483" y="30956"/>
                    <a:pt x="384925" y="4762"/>
                  </a:cubicBezTo>
                  <a:close/>
                  <a:moveTo>
                    <a:pt x="95405" y="0"/>
                  </a:moveTo>
                  <a:cubicBezTo>
                    <a:pt x="95405" y="3742"/>
                    <a:pt x="95405" y="3742"/>
                    <a:pt x="102846" y="26194"/>
                  </a:cubicBezTo>
                  <a:cubicBezTo>
                    <a:pt x="47035" y="41161"/>
                    <a:pt x="17269" y="97291"/>
                    <a:pt x="28431" y="149678"/>
                  </a:cubicBezTo>
                  <a:cubicBezTo>
                    <a:pt x="28423" y="149681"/>
                    <a:pt x="28011" y="149819"/>
                    <a:pt x="6107" y="157162"/>
                  </a:cubicBezTo>
                  <a:cubicBezTo>
                    <a:pt x="-16217" y="86065"/>
                    <a:pt x="24711" y="18710"/>
                    <a:pt x="95405" y="0"/>
                  </a:cubicBezTo>
                  <a:close/>
                </a:path>
              </a:pathLst>
            </a:custGeom>
            <a:grpFill/>
            <a:ln>
              <a:solidFill>
                <a:schemeClr val="accent1">
                  <a:lumMod val="75000"/>
                </a:schemeClr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60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94" name="矩形 93"/>
            <p:cNvSpPr/>
            <p:nvPr/>
          </p:nvSpPr>
          <p:spPr>
            <a:xfrm>
              <a:off x="8875908" y="2288519"/>
              <a:ext cx="939044" cy="332408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 b="1">
                  <a:latin typeface="华文楷体" panose="02010600040101010101" pitchFamily="2" charset="-122"/>
                  <a:ea typeface="华文楷体" panose="02010600040101010101" pitchFamily="2" charset="-122"/>
                </a:rPr>
                <a:t>作</a:t>
              </a:r>
              <a:r>
                <a:rPr lang="zh-CN" altLang="en-US" sz="1200" b="1" smtClean="0">
                  <a:latin typeface="华文楷体" panose="02010600040101010101" pitchFamily="2" charset="-122"/>
                  <a:ea typeface="华文楷体" panose="02010600040101010101" pitchFamily="2" charset="-122"/>
                </a:rPr>
                <a:t>业</a:t>
              </a:r>
              <a:r>
                <a:rPr lang="zh-CN" altLang="en-US" sz="1200" b="1">
                  <a:latin typeface="华文楷体" panose="02010600040101010101" pitchFamily="2" charset="-122"/>
                  <a:ea typeface="华文楷体" panose="02010600040101010101" pitchFamily="2" charset="-122"/>
                </a:rPr>
                <a:t>人员</a:t>
              </a:r>
              <a:endParaRPr lang="en-US" altLang="zh-CN" sz="1200" b="1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95" name="矩形 94"/>
          <p:cNvSpPr/>
          <p:nvPr/>
        </p:nvSpPr>
        <p:spPr>
          <a:xfrm>
            <a:off x="4892003" y="2199991"/>
            <a:ext cx="57618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产能对比</a:t>
            </a:r>
            <a:endParaRPr lang="en-US" altLang="zh-CN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6" name="矩形 95"/>
          <p:cNvSpPr/>
          <p:nvPr/>
        </p:nvSpPr>
        <p:spPr>
          <a:xfrm>
            <a:off x="4832687" y="2694337"/>
            <a:ext cx="6936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成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本对比</a:t>
            </a:r>
            <a:endParaRPr lang="en-US" altLang="zh-CN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7" name="矩形 96"/>
          <p:cNvSpPr/>
          <p:nvPr/>
        </p:nvSpPr>
        <p:spPr>
          <a:xfrm>
            <a:off x="5615652" y="2262298"/>
            <a:ext cx="422641" cy="356308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3</a:t>
            </a: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7235843" y="2262298"/>
            <a:ext cx="422641" cy="356308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5614963" y="2744229"/>
            <a:ext cx="415774" cy="384734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0" name="矩形 99"/>
          <p:cNvSpPr/>
          <p:nvPr/>
        </p:nvSpPr>
        <p:spPr>
          <a:xfrm>
            <a:off x="7242710" y="2744229"/>
            <a:ext cx="415774" cy="384734"/>
          </a:xfrm>
          <a:prstGeom prst="rect">
            <a:avLst/>
          </a:prstGeom>
          <a:noFill/>
          <a:ln w="127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4</a:t>
            </a: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6425747" y="2242091"/>
            <a:ext cx="422641" cy="35630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：</a:t>
            </a:r>
          </a:p>
        </p:txBody>
      </p:sp>
      <p:sp>
        <p:nvSpPr>
          <p:cNvPr id="102" name="矩形 101"/>
          <p:cNvSpPr/>
          <p:nvPr/>
        </p:nvSpPr>
        <p:spPr>
          <a:xfrm>
            <a:off x="6428836" y="2744428"/>
            <a:ext cx="415774" cy="3847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rPr>
              <a:t>：</a:t>
            </a:r>
          </a:p>
        </p:txBody>
      </p:sp>
      <p:grpSp>
        <p:nvGrpSpPr>
          <p:cNvPr id="103" name="组合 102"/>
          <p:cNvGrpSpPr/>
          <p:nvPr/>
        </p:nvGrpSpPr>
        <p:grpSpPr>
          <a:xfrm>
            <a:off x="5444072" y="1539694"/>
            <a:ext cx="800220" cy="644825"/>
            <a:chOff x="7781782" y="1833067"/>
            <a:chExt cx="939044" cy="773814"/>
          </a:xfrm>
          <a:noFill/>
        </p:grpSpPr>
        <p:sp>
          <p:nvSpPr>
            <p:cNvPr id="104" name="investments-protection_73204">
              <a:extLst>
                <a:ext uri="{FF2B5EF4-FFF2-40B4-BE49-F238E27FC236}">
                  <a16:creationId xmlns:a16="http://schemas.microsoft.com/office/drawing/2014/main" id="{54405246-CCE2-4201-BBB1-D3F3EB6E74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15666" y="1833067"/>
              <a:ext cx="432000" cy="432000"/>
            </a:xfrm>
            <a:custGeom>
              <a:avLst/>
              <a:gdLst>
                <a:gd name="T0" fmla="*/ 5547 w 12800"/>
                <a:gd name="T1" fmla="*/ 10240 h 12800"/>
                <a:gd name="T2" fmla="*/ 2133 w 12800"/>
                <a:gd name="T3" fmla="*/ 11947 h 12800"/>
                <a:gd name="T4" fmla="*/ 10667 w 12800"/>
                <a:gd name="T5" fmla="*/ 10240 h 12800"/>
                <a:gd name="T6" fmla="*/ 7680 w 12800"/>
                <a:gd name="T7" fmla="*/ 9387 h 12800"/>
                <a:gd name="T8" fmla="*/ 11520 w 12800"/>
                <a:gd name="T9" fmla="*/ 10240 h 12800"/>
                <a:gd name="T10" fmla="*/ 10667 w 12800"/>
                <a:gd name="T11" fmla="*/ 12800 h 12800"/>
                <a:gd name="T12" fmla="*/ 1280 w 12800"/>
                <a:gd name="T13" fmla="*/ 11947 h 12800"/>
                <a:gd name="T14" fmla="*/ 2133 w 12800"/>
                <a:gd name="T15" fmla="*/ 9387 h 12800"/>
                <a:gd name="T16" fmla="*/ 3413 w 12800"/>
                <a:gd name="T17" fmla="*/ 853 h 12800"/>
                <a:gd name="T18" fmla="*/ 10240 w 12800"/>
                <a:gd name="T19" fmla="*/ 1707 h 12800"/>
                <a:gd name="T20" fmla="*/ 9387 w 12800"/>
                <a:gd name="T21" fmla="*/ 8533 h 12800"/>
                <a:gd name="T22" fmla="*/ 2560 w 12800"/>
                <a:gd name="T23" fmla="*/ 7680 h 12800"/>
                <a:gd name="T24" fmla="*/ 3413 w 12800"/>
                <a:gd name="T25" fmla="*/ 853 h 12800"/>
                <a:gd name="T26" fmla="*/ 3413 w 12800"/>
                <a:gd name="T27" fmla="*/ 7680 h 12800"/>
                <a:gd name="T28" fmla="*/ 9387 w 12800"/>
                <a:gd name="T29" fmla="*/ 1707 h 12800"/>
                <a:gd name="T30" fmla="*/ 11093 w 12800"/>
                <a:gd name="T31" fmla="*/ 2987 h 12800"/>
                <a:gd name="T32" fmla="*/ 11520 w 12800"/>
                <a:gd name="T33" fmla="*/ 5973 h 12800"/>
                <a:gd name="T34" fmla="*/ 10667 w 12800"/>
                <a:gd name="T35" fmla="*/ 5973 h 12800"/>
                <a:gd name="T36" fmla="*/ 11093 w 12800"/>
                <a:gd name="T37" fmla="*/ 2987 h 12800"/>
                <a:gd name="T38" fmla="*/ 2133 w 12800"/>
                <a:gd name="T39" fmla="*/ 3413 h 12800"/>
                <a:gd name="T40" fmla="*/ 1707 w 12800"/>
                <a:gd name="T41" fmla="*/ 6400 h 12800"/>
                <a:gd name="T42" fmla="*/ 1280 w 12800"/>
                <a:gd name="T43" fmla="*/ 3413 h 12800"/>
                <a:gd name="T44" fmla="*/ 12373 w 12800"/>
                <a:gd name="T45" fmla="*/ 3840 h 12800"/>
                <a:gd name="T46" fmla="*/ 12800 w 12800"/>
                <a:gd name="T47" fmla="*/ 5120 h 12800"/>
                <a:gd name="T48" fmla="*/ 11947 w 12800"/>
                <a:gd name="T49" fmla="*/ 5120 h 12800"/>
                <a:gd name="T50" fmla="*/ 12373 w 12800"/>
                <a:gd name="T51" fmla="*/ 3840 h 12800"/>
                <a:gd name="T52" fmla="*/ 853 w 12800"/>
                <a:gd name="T53" fmla="*/ 4267 h 12800"/>
                <a:gd name="T54" fmla="*/ 427 w 12800"/>
                <a:gd name="T55" fmla="*/ 5547 h 12800"/>
                <a:gd name="T56" fmla="*/ 0 w 12800"/>
                <a:gd name="T57" fmla="*/ 4267 h 12800"/>
                <a:gd name="T58" fmla="*/ 4693 w 12800"/>
                <a:gd name="T59" fmla="*/ 5120 h 12800"/>
                <a:gd name="T60" fmla="*/ 4693 w 12800"/>
                <a:gd name="T61" fmla="*/ 3840 h 12800"/>
                <a:gd name="T62" fmla="*/ 4693 w 12800"/>
                <a:gd name="T63" fmla="*/ 5120 h 12800"/>
                <a:gd name="T64" fmla="*/ 8747 w 12800"/>
                <a:gd name="T65" fmla="*/ 4480 h 12800"/>
                <a:gd name="T66" fmla="*/ 7467 w 12800"/>
                <a:gd name="T67" fmla="*/ 4480 h 12800"/>
                <a:gd name="T68" fmla="*/ 6400 w 12800"/>
                <a:gd name="T69" fmla="*/ 0 h 12800"/>
                <a:gd name="T70" fmla="*/ 6827 w 12800"/>
                <a:gd name="T71" fmla="*/ 1280 h 12800"/>
                <a:gd name="T72" fmla="*/ 5973 w 12800"/>
                <a:gd name="T73" fmla="*/ 1280 h 12800"/>
                <a:gd name="T74" fmla="*/ 6400 w 12800"/>
                <a:gd name="T75" fmla="*/ 0 h 12800"/>
                <a:gd name="T76" fmla="*/ 5973 w 12800"/>
                <a:gd name="T77" fmla="*/ 8107 h 12800"/>
                <a:gd name="T78" fmla="*/ 5547 w 12800"/>
                <a:gd name="T79" fmla="*/ 10240 h 12800"/>
                <a:gd name="T80" fmla="*/ 5120 w 12800"/>
                <a:gd name="T81" fmla="*/ 8107 h 12800"/>
                <a:gd name="T82" fmla="*/ 7253 w 12800"/>
                <a:gd name="T83" fmla="*/ 7680 h 12800"/>
                <a:gd name="T84" fmla="*/ 7680 w 12800"/>
                <a:gd name="T85" fmla="*/ 9813 h 12800"/>
                <a:gd name="T86" fmla="*/ 6827 w 12800"/>
                <a:gd name="T87" fmla="*/ 9813 h 12800"/>
                <a:gd name="T88" fmla="*/ 7253 w 12800"/>
                <a:gd name="T89" fmla="*/ 76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800" h="12800">
                  <a:moveTo>
                    <a:pt x="5120" y="9387"/>
                  </a:moveTo>
                  <a:lnTo>
                    <a:pt x="5547" y="10240"/>
                  </a:lnTo>
                  <a:lnTo>
                    <a:pt x="2133" y="10240"/>
                  </a:lnTo>
                  <a:lnTo>
                    <a:pt x="2133" y="11947"/>
                  </a:lnTo>
                  <a:lnTo>
                    <a:pt x="10667" y="11947"/>
                  </a:lnTo>
                  <a:lnTo>
                    <a:pt x="10667" y="10240"/>
                  </a:lnTo>
                  <a:lnTo>
                    <a:pt x="7253" y="10240"/>
                  </a:lnTo>
                  <a:lnTo>
                    <a:pt x="7680" y="9387"/>
                  </a:lnTo>
                  <a:lnTo>
                    <a:pt x="10667" y="9387"/>
                  </a:lnTo>
                  <a:cubicBezTo>
                    <a:pt x="11138" y="9387"/>
                    <a:pt x="11520" y="9769"/>
                    <a:pt x="11520" y="10240"/>
                  </a:cubicBezTo>
                  <a:lnTo>
                    <a:pt x="11520" y="11947"/>
                  </a:lnTo>
                  <a:cubicBezTo>
                    <a:pt x="11520" y="12418"/>
                    <a:pt x="11138" y="12800"/>
                    <a:pt x="10667" y="12800"/>
                  </a:cubicBezTo>
                  <a:lnTo>
                    <a:pt x="2133" y="12800"/>
                  </a:lnTo>
                  <a:cubicBezTo>
                    <a:pt x="1662" y="12800"/>
                    <a:pt x="1280" y="12418"/>
                    <a:pt x="1280" y="11947"/>
                  </a:cubicBezTo>
                  <a:lnTo>
                    <a:pt x="1280" y="10240"/>
                  </a:lnTo>
                  <a:cubicBezTo>
                    <a:pt x="1280" y="9769"/>
                    <a:pt x="1662" y="9387"/>
                    <a:pt x="2133" y="9387"/>
                  </a:cubicBezTo>
                  <a:lnTo>
                    <a:pt x="5120" y="9387"/>
                  </a:lnTo>
                  <a:close/>
                  <a:moveTo>
                    <a:pt x="3413" y="853"/>
                  </a:moveTo>
                  <a:lnTo>
                    <a:pt x="9387" y="853"/>
                  </a:lnTo>
                  <a:cubicBezTo>
                    <a:pt x="9858" y="853"/>
                    <a:pt x="10240" y="1235"/>
                    <a:pt x="10240" y="1707"/>
                  </a:cubicBezTo>
                  <a:lnTo>
                    <a:pt x="10240" y="7680"/>
                  </a:lnTo>
                  <a:cubicBezTo>
                    <a:pt x="10240" y="8151"/>
                    <a:pt x="9858" y="8533"/>
                    <a:pt x="9387" y="8533"/>
                  </a:cubicBezTo>
                  <a:lnTo>
                    <a:pt x="3413" y="8533"/>
                  </a:lnTo>
                  <a:cubicBezTo>
                    <a:pt x="2942" y="8533"/>
                    <a:pt x="2560" y="8151"/>
                    <a:pt x="2560" y="7680"/>
                  </a:cubicBezTo>
                  <a:lnTo>
                    <a:pt x="2560" y="1707"/>
                  </a:lnTo>
                  <a:cubicBezTo>
                    <a:pt x="2560" y="1235"/>
                    <a:pt x="2942" y="853"/>
                    <a:pt x="3413" y="853"/>
                  </a:cubicBezTo>
                  <a:close/>
                  <a:moveTo>
                    <a:pt x="3413" y="1707"/>
                  </a:moveTo>
                  <a:lnTo>
                    <a:pt x="3413" y="7680"/>
                  </a:lnTo>
                  <a:lnTo>
                    <a:pt x="9387" y="7680"/>
                  </a:lnTo>
                  <a:lnTo>
                    <a:pt x="9387" y="1707"/>
                  </a:lnTo>
                  <a:lnTo>
                    <a:pt x="3413" y="1707"/>
                  </a:lnTo>
                  <a:close/>
                  <a:moveTo>
                    <a:pt x="11093" y="2987"/>
                  </a:moveTo>
                  <a:cubicBezTo>
                    <a:pt x="11329" y="2987"/>
                    <a:pt x="11520" y="3178"/>
                    <a:pt x="11520" y="3413"/>
                  </a:cubicBezTo>
                  <a:lnTo>
                    <a:pt x="11520" y="5973"/>
                  </a:lnTo>
                  <a:cubicBezTo>
                    <a:pt x="11520" y="6209"/>
                    <a:pt x="11329" y="6400"/>
                    <a:pt x="11093" y="6400"/>
                  </a:cubicBezTo>
                  <a:cubicBezTo>
                    <a:pt x="10858" y="6400"/>
                    <a:pt x="10667" y="6209"/>
                    <a:pt x="10667" y="5973"/>
                  </a:cubicBezTo>
                  <a:lnTo>
                    <a:pt x="10667" y="3413"/>
                  </a:lnTo>
                  <a:cubicBezTo>
                    <a:pt x="10667" y="3178"/>
                    <a:pt x="10858" y="2987"/>
                    <a:pt x="11093" y="2987"/>
                  </a:cubicBezTo>
                  <a:close/>
                  <a:moveTo>
                    <a:pt x="1707" y="2987"/>
                  </a:moveTo>
                  <a:cubicBezTo>
                    <a:pt x="1942" y="2987"/>
                    <a:pt x="2133" y="3178"/>
                    <a:pt x="2133" y="3413"/>
                  </a:cubicBezTo>
                  <a:lnTo>
                    <a:pt x="2133" y="5973"/>
                  </a:lnTo>
                  <a:cubicBezTo>
                    <a:pt x="2133" y="6209"/>
                    <a:pt x="1942" y="6400"/>
                    <a:pt x="1707" y="6400"/>
                  </a:cubicBezTo>
                  <a:cubicBezTo>
                    <a:pt x="1471" y="6400"/>
                    <a:pt x="1280" y="6209"/>
                    <a:pt x="1280" y="5973"/>
                  </a:cubicBezTo>
                  <a:lnTo>
                    <a:pt x="1280" y="3413"/>
                  </a:lnTo>
                  <a:cubicBezTo>
                    <a:pt x="1280" y="3178"/>
                    <a:pt x="1471" y="2987"/>
                    <a:pt x="1707" y="2987"/>
                  </a:cubicBezTo>
                  <a:close/>
                  <a:moveTo>
                    <a:pt x="12373" y="3840"/>
                  </a:moveTo>
                  <a:cubicBezTo>
                    <a:pt x="12609" y="3840"/>
                    <a:pt x="12800" y="4031"/>
                    <a:pt x="12800" y="4267"/>
                  </a:cubicBezTo>
                  <a:lnTo>
                    <a:pt x="12800" y="5120"/>
                  </a:lnTo>
                  <a:cubicBezTo>
                    <a:pt x="12800" y="5356"/>
                    <a:pt x="12609" y="5547"/>
                    <a:pt x="12373" y="5547"/>
                  </a:cubicBezTo>
                  <a:cubicBezTo>
                    <a:pt x="12138" y="5547"/>
                    <a:pt x="11947" y="5356"/>
                    <a:pt x="11947" y="5120"/>
                  </a:cubicBezTo>
                  <a:lnTo>
                    <a:pt x="11947" y="4267"/>
                  </a:lnTo>
                  <a:cubicBezTo>
                    <a:pt x="11947" y="4031"/>
                    <a:pt x="12138" y="3840"/>
                    <a:pt x="12373" y="3840"/>
                  </a:cubicBezTo>
                  <a:close/>
                  <a:moveTo>
                    <a:pt x="427" y="3840"/>
                  </a:moveTo>
                  <a:cubicBezTo>
                    <a:pt x="662" y="3840"/>
                    <a:pt x="853" y="4031"/>
                    <a:pt x="853" y="4267"/>
                  </a:cubicBezTo>
                  <a:lnTo>
                    <a:pt x="853" y="5120"/>
                  </a:lnTo>
                  <a:cubicBezTo>
                    <a:pt x="853" y="5356"/>
                    <a:pt x="662" y="5547"/>
                    <a:pt x="427" y="5547"/>
                  </a:cubicBezTo>
                  <a:cubicBezTo>
                    <a:pt x="191" y="5547"/>
                    <a:pt x="0" y="5356"/>
                    <a:pt x="0" y="5120"/>
                  </a:cubicBezTo>
                  <a:lnTo>
                    <a:pt x="0" y="4267"/>
                  </a:lnTo>
                  <a:cubicBezTo>
                    <a:pt x="0" y="4031"/>
                    <a:pt x="191" y="3840"/>
                    <a:pt x="427" y="3840"/>
                  </a:cubicBezTo>
                  <a:close/>
                  <a:moveTo>
                    <a:pt x="4693" y="5120"/>
                  </a:moveTo>
                  <a:cubicBezTo>
                    <a:pt x="5047" y="5120"/>
                    <a:pt x="5333" y="4833"/>
                    <a:pt x="5333" y="4480"/>
                  </a:cubicBezTo>
                  <a:cubicBezTo>
                    <a:pt x="5333" y="4127"/>
                    <a:pt x="5047" y="3840"/>
                    <a:pt x="4693" y="3840"/>
                  </a:cubicBezTo>
                  <a:cubicBezTo>
                    <a:pt x="4340" y="3840"/>
                    <a:pt x="4053" y="4127"/>
                    <a:pt x="4053" y="4480"/>
                  </a:cubicBezTo>
                  <a:cubicBezTo>
                    <a:pt x="4053" y="4833"/>
                    <a:pt x="4340" y="5120"/>
                    <a:pt x="4693" y="5120"/>
                  </a:cubicBezTo>
                  <a:close/>
                  <a:moveTo>
                    <a:pt x="8107" y="5120"/>
                  </a:moveTo>
                  <a:cubicBezTo>
                    <a:pt x="8460" y="5120"/>
                    <a:pt x="8747" y="4833"/>
                    <a:pt x="8747" y="4480"/>
                  </a:cubicBezTo>
                  <a:cubicBezTo>
                    <a:pt x="8747" y="4127"/>
                    <a:pt x="8460" y="3840"/>
                    <a:pt x="8107" y="3840"/>
                  </a:cubicBezTo>
                  <a:cubicBezTo>
                    <a:pt x="7753" y="3840"/>
                    <a:pt x="7467" y="4127"/>
                    <a:pt x="7467" y="4480"/>
                  </a:cubicBezTo>
                  <a:cubicBezTo>
                    <a:pt x="7467" y="4833"/>
                    <a:pt x="7753" y="5120"/>
                    <a:pt x="8107" y="5120"/>
                  </a:cubicBezTo>
                  <a:close/>
                  <a:moveTo>
                    <a:pt x="6400" y="0"/>
                  </a:moveTo>
                  <a:cubicBezTo>
                    <a:pt x="6636" y="0"/>
                    <a:pt x="6827" y="191"/>
                    <a:pt x="6827" y="427"/>
                  </a:cubicBezTo>
                  <a:lnTo>
                    <a:pt x="6827" y="1280"/>
                  </a:lnTo>
                  <a:cubicBezTo>
                    <a:pt x="6827" y="1516"/>
                    <a:pt x="6636" y="1707"/>
                    <a:pt x="6400" y="1707"/>
                  </a:cubicBezTo>
                  <a:cubicBezTo>
                    <a:pt x="6164" y="1707"/>
                    <a:pt x="5973" y="1516"/>
                    <a:pt x="5973" y="1280"/>
                  </a:cubicBezTo>
                  <a:lnTo>
                    <a:pt x="5973" y="427"/>
                  </a:lnTo>
                  <a:cubicBezTo>
                    <a:pt x="5973" y="191"/>
                    <a:pt x="6164" y="0"/>
                    <a:pt x="6400" y="0"/>
                  </a:cubicBezTo>
                  <a:close/>
                  <a:moveTo>
                    <a:pt x="5547" y="7680"/>
                  </a:moveTo>
                  <a:cubicBezTo>
                    <a:pt x="5782" y="7680"/>
                    <a:pt x="5973" y="7871"/>
                    <a:pt x="5973" y="8107"/>
                  </a:cubicBezTo>
                  <a:lnTo>
                    <a:pt x="5973" y="9813"/>
                  </a:lnTo>
                  <a:cubicBezTo>
                    <a:pt x="5973" y="10049"/>
                    <a:pt x="5782" y="10240"/>
                    <a:pt x="5547" y="10240"/>
                  </a:cubicBezTo>
                  <a:cubicBezTo>
                    <a:pt x="5311" y="10240"/>
                    <a:pt x="5120" y="10049"/>
                    <a:pt x="5120" y="9813"/>
                  </a:cubicBezTo>
                  <a:lnTo>
                    <a:pt x="5120" y="8107"/>
                  </a:lnTo>
                  <a:cubicBezTo>
                    <a:pt x="5120" y="7871"/>
                    <a:pt x="5311" y="7680"/>
                    <a:pt x="5547" y="7680"/>
                  </a:cubicBezTo>
                  <a:close/>
                  <a:moveTo>
                    <a:pt x="7253" y="7680"/>
                  </a:moveTo>
                  <a:cubicBezTo>
                    <a:pt x="7489" y="7680"/>
                    <a:pt x="7680" y="7871"/>
                    <a:pt x="7680" y="8107"/>
                  </a:cubicBezTo>
                  <a:lnTo>
                    <a:pt x="7680" y="9813"/>
                  </a:lnTo>
                  <a:cubicBezTo>
                    <a:pt x="7680" y="10049"/>
                    <a:pt x="7489" y="10240"/>
                    <a:pt x="7253" y="10240"/>
                  </a:cubicBezTo>
                  <a:cubicBezTo>
                    <a:pt x="7018" y="10240"/>
                    <a:pt x="6827" y="10049"/>
                    <a:pt x="6827" y="9813"/>
                  </a:cubicBezTo>
                  <a:lnTo>
                    <a:pt x="6827" y="8107"/>
                  </a:lnTo>
                  <a:cubicBezTo>
                    <a:pt x="6827" y="7871"/>
                    <a:pt x="7018" y="7680"/>
                    <a:pt x="7253" y="768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accent1">
                  <a:lumMod val="7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  <p:sp>
          <p:nvSpPr>
            <p:cNvPr id="105" name="矩形 104"/>
            <p:cNvSpPr/>
            <p:nvPr/>
          </p:nvSpPr>
          <p:spPr>
            <a:xfrm>
              <a:off x="7781782" y="2274472"/>
              <a:ext cx="939044" cy="332409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sz="1200">
                  <a:latin typeface="华文楷体" panose="02010600040101010101" pitchFamily="2" charset="-122"/>
                  <a:ea typeface="华文楷体" panose="02010600040101010101" pitchFamily="2" charset="-122"/>
                </a:rPr>
                <a:t>数</a:t>
              </a:r>
              <a:r>
                <a:rPr lang="zh-CN" altLang="en-US" sz="1200" smtClean="0">
                  <a:latin typeface="华文楷体" panose="02010600040101010101" pitchFamily="2" charset="-122"/>
                  <a:ea typeface="华文楷体" panose="02010600040101010101" pitchFamily="2" charset="-122"/>
                </a:rPr>
                <a:t>字员工</a:t>
              </a:r>
              <a:endParaRPr lang="en-US" altLang="zh-CN" sz="1200">
                <a:latin typeface="华文楷体" panose="02010600040101010101" pitchFamily="2" charset="-122"/>
                <a:ea typeface="华文楷体" panose="02010600040101010101" pitchFamily="2" charset="-122"/>
              </a:endParaRPr>
            </a:p>
          </p:txBody>
        </p:sp>
      </p:grpSp>
      <p:sp>
        <p:nvSpPr>
          <p:cNvPr id="106" name="矩形 105"/>
          <p:cNvSpPr/>
          <p:nvPr/>
        </p:nvSpPr>
        <p:spPr>
          <a:xfrm>
            <a:off x="873809" y="1107334"/>
            <a:ext cx="2583343" cy="2722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数字员工地图</a:t>
            </a:r>
            <a:endParaRPr kumimoji="0" lang="zh-CN" altLang="en-US" sz="2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cxnSp>
        <p:nvCxnSpPr>
          <p:cNvPr id="107" name="直接连接符 106"/>
          <p:cNvCxnSpPr/>
          <p:nvPr/>
        </p:nvCxnSpPr>
        <p:spPr>
          <a:xfrm>
            <a:off x="338449" y="1518896"/>
            <a:ext cx="3725566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8" name="矩形 107"/>
          <p:cNvSpPr/>
          <p:nvPr/>
        </p:nvSpPr>
        <p:spPr>
          <a:xfrm>
            <a:off x="5060102" y="3344970"/>
            <a:ext cx="2583343" cy="2722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数字员工</a:t>
            </a:r>
            <a:r>
              <a:rPr lang="zh-CN" altLang="en-US" sz="20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全周期管控</a:t>
            </a:r>
            <a:endParaRPr kumimoji="0" lang="zh-CN" altLang="en-US" sz="2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cxnSp>
        <p:nvCxnSpPr>
          <p:cNvPr id="109" name="直接连接符 108"/>
          <p:cNvCxnSpPr/>
          <p:nvPr/>
        </p:nvCxnSpPr>
        <p:spPr>
          <a:xfrm>
            <a:off x="4524742" y="3756532"/>
            <a:ext cx="3725566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0" name="矩形 109"/>
          <p:cNvSpPr/>
          <p:nvPr/>
        </p:nvSpPr>
        <p:spPr>
          <a:xfrm>
            <a:off x="5094636" y="1048316"/>
            <a:ext cx="2583343" cy="2722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数字员工</a:t>
            </a:r>
            <a:r>
              <a:rPr lang="zh-CN" altLang="en-US" sz="2000" b="1" ker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应</a:t>
            </a:r>
            <a:r>
              <a:rPr lang="zh-CN" altLang="en-US" sz="2000" b="1" kern="0" smtClean="0"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用效果</a:t>
            </a:r>
            <a:endParaRPr kumimoji="0" lang="zh-CN" altLang="en-US" sz="2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cxnSp>
        <p:nvCxnSpPr>
          <p:cNvPr id="111" name="直接连接符 110"/>
          <p:cNvCxnSpPr/>
          <p:nvPr/>
        </p:nvCxnSpPr>
        <p:spPr>
          <a:xfrm>
            <a:off x="4559276" y="1459878"/>
            <a:ext cx="3725566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2" name="文本框 111"/>
          <p:cNvSpPr txBox="1"/>
          <p:nvPr/>
        </p:nvSpPr>
        <p:spPr>
          <a:xfrm>
            <a:off x="8559180" y="1683440"/>
            <a:ext cx="3308022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7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年借助德勤落地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RPA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，单</a:t>
            </a:r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场景研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发上线周</a:t>
            </a:r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期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endParaRPr lang="zh-CN" altLang="en-US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3" name="下箭头 112"/>
          <p:cNvSpPr/>
          <p:nvPr/>
        </p:nvSpPr>
        <p:spPr>
          <a:xfrm>
            <a:off x="9837945" y="2543243"/>
            <a:ext cx="678574" cy="597748"/>
          </a:xfrm>
          <a:prstGeom prst="downArrow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>
              <a:solidFill>
                <a:schemeClr val="tx1"/>
              </a:solidFill>
            </a:endParaRPr>
          </a:p>
        </p:txBody>
      </p:sp>
      <p:sp>
        <p:nvSpPr>
          <p:cNvPr id="114" name="文本框 113"/>
          <p:cNvSpPr txBox="1"/>
          <p:nvPr/>
        </p:nvSpPr>
        <p:spPr>
          <a:xfrm>
            <a:off x="8591174" y="3368665"/>
            <a:ext cx="3308022" cy="3847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19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年开始自研转型，成立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RPA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团队</a:t>
            </a:r>
            <a:endParaRPr lang="zh-CN" altLang="en-US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5" name="矩形 114"/>
          <p:cNvSpPr/>
          <p:nvPr/>
        </p:nvSpPr>
        <p:spPr>
          <a:xfrm>
            <a:off x="9643568" y="4002509"/>
            <a:ext cx="18965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单</a:t>
            </a:r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场景研发周期</a:t>
            </a:r>
            <a:r>
              <a:rPr lang="en-US" altLang="zh-CN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2</a:t>
            </a:r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周</a:t>
            </a:r>
          </a:p>
        </p:txBody>
      </p:sp>
      <p:sp>
        <p:nvSpPr>
          <p:cNvPr id="116" name="五边形 115"/>
          <p:cNvSpPr/>
          <p:nvPr/>
        </p:nvSpPr>
        <p:spPr>
          <a:xfrm>
            <a:off x="8705602" y="3916853"/>
            <a:ext cx="892072" cy="418305"/>
          </a:xfrm>
          <a:prstGeom prst="homePlate">
            <a:avLst>
              <a:gd name="adj" fmla="val 28214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开发周期</a:t>
            </a:r>
            <a:endParaRPr lang="zh-CN" altLang="en-US" sz="12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9634777" y="4587801"/>
            <a:ext cx="21116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平安安</a:t>
            </a:r>
            <a:r>
              <a:rPr lang="zh-CN" altLang="en-US" sz="1400" b="1">
                <a:latin typeface="华文楷体" panose="02010600040101010101" pitchFamily="2" charset="-122"/>
                <a:ea typeface="华文楷体" panose="02010600040101010101" pitchFamily="2" charset="-122"/>
              </a:rPr>
              <a:t>小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峰  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+  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来也 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+ …</a:t>
            </a:r>
            <a:endParaRPr lang="zh-CN" altLang="en-US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8" name="五边形 117"/>
          <p:cNvSpPr/>
          <p:nvPr/>
        </p:nvSpPr>
        <p:spPr>
          <a:xfrm>
            <a:off x="8705602" y="4502433"/>
            <a:ext cx="892072" cy="460136"/>
          </a:xfrm>
          <a:prstGeom prst="homePlate">
            <a:avLst>
              <a:gd name="adj" fmla="val 28214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多系统</a:t>
            </a:r>
            <a:endParaRPr lang="zh-CN" altLang="en-US" sz="12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19" name="矩形 118"/>
          <p:cNvSpPr/>
          <p:nvPr/>
        </p:nvSpPr>
        <p:spPr>
          <a:xfrm>
            <a:off x="9634776" y="5212616"/>
            <a:ext cx="189108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已完成申请</a:t>
            </a:r>
            <a:r>
              <a:rPr lang="en-US" altLang="zh-CN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3</a:t>
            </a:r>
            <a:r>
              <a:rPr lang="zh-CN" altLang="en-US" sz="1400" b="1" smtClean="0">
                <a:latin typeface="华文楷体" panose="02010600040101010101" pitchFamily="2" charset="-122"/>
                <a:ea typeface="华文楷体" panose="02010600040101010101" pitchFamily="2" charset="-122"/>
              </a:rPr>
              <a:t>大专利</a:t>
            </a:r>
            <a:endParaRPr lang="zh-CN" altLang="en-US" sz="1400" b="1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0" name="五边形 119"/>
          <p:cNvSpPr/>
          <p:nvPr/>
        </p:nvSpPr>
        <p:spPr>
          <a:xfrm>
            <a:off x="8705602" y="5129844"/>
            <a:ext cx="892072" cy="460136"/>
          </a:xfrm>
          <a:prstGeom prst="homePlate">
            <a:avLst>
              <a:gd name="adj" fmla="val 28214"/>
            </a:avLst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smtClean="0">
                <a:solidFill>
                  <a:schemeClr val="tx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自有专利</a:t>
            </a:r>
            <a:endParaRPr lang="zh-CN" altLang="en-US" sz="1200" b="1">
              <a:solidFill>
                <a:schemeClr val="tx1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  <p:sp>
        <p:nvSpPr>
          <p:cNvPr id="121" name="矩形 120"/>
          <p:cNvSpPr/>
          <p:nvPr/>
        </p:nvSpPr>
        <p:spPr>
          <a:xfrm>
            <a:off x="8942515" y="1056201"/>
            <a:ext cx="2583343" cy="2722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华文楷体" panose="02010600040101010101" pitchFamily="2" charset="-122"/>
                <a:sym typeface="Times New Roman" panose="02020603050405020304" pitchFamily="18" charset="0"/>
              </a:rPr>
              <a:t>自主研发，快速迭代</a:t>
            </a:r>
            <a:endParaRPr kumimoji="0" lang="zh-CN" altLang="en-US" sz="20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ea typeface="华文楷体" panose="02010600040101010101" pitchFamily="2" charset="-122"/>
              <a:sym typeface="Times New Roman" panose="02020603050405020304" pitchFamily="18" charset="0"/>
            </a:endParaRPr>
          </a:p>
        </p:txBody>
      </p:sp>
      <p:cxnSp>
        <p:nvCxnSpPr>
          <p:cNvPr id="122" name="直接连接符 121"/>
          <p:cNvCxnSpPr/>
          <p:nvPr/>
        </p:nvCxnSpPr>
        <p:spPr>
          <a:xfrm flipV="1">
            <a:off x="8607425" y="1459878"/>
            <a:ext cx="3259777" cy="9525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04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中心资金交易时效性要求高，人力耗时多</a:t>
            </a:r>
            <a:endParaRPr lang="zh-CN" altLang="en-US"/>
          </a:p>
        </p:txBody>
      </p:sp>
      <p:sp>
        <p:nvSpPr>
          <p:cNvPr id="3" name="圆角矩形 2"/>
          <p:cNvSpPr/>
          <p:nvPr/>
        </p:nvSpPr>
        <p:spPr>
          <a:xfrm>
            <a:off x="800755" y="2119948"/>
            <a:ext cx="2766139" cy="760866"/>
          </a:xfrm>
          <a:prstGeom prst="roundRect">
            <a:avLst>
              <a:gd name="adj" fmla="val 14305"/>
            </a:avLst>
          </a:prstGeom>
          <a:solidFill>
            <a:sysClr val="window" lastClr="FFFFFF">
              <a:lumMod val="9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800754" y="1280574"/>
            <a:ext cx="2766139" cy="681360"/>
          </a:xfrm>
          <a:prstGeom prst="roundRect">
            <a:avLst>
              <a:gd name="adj" fmla="val 14305"/>
            </a:avLst>
          </a:prstGeom>
          <a:solidFill>
            <a:sysClr val="window" lastClr="FFFFFF">
              <a:lumMod val="9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330443" y="1268486"/>
            <a:ext cx="327982" cy="2774750"/>
          </a:xfrm>
          <a:prstGeom prst="roundRect">
            <a:avLst>
              <a:gd name="adj" fmla="val 10637"/>
            </a:avLst>
          </a:prstGeom>
          <a:solidFill>
            <a:srgbClr val="E95504"/>
          </a:solidFill>
          <a:ln w="3175" cap="flat" cmpd="sng" algn="ctr">
            <a:solidFill>
              <a:srgbClr val="EA550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 panose="02010600040101010101" pitchFamily="2" charset="-122"/>
                <a:ea typeface="华文楷体"/>
                <a:cs typeface="+mn-ea"/>
                <a:sym typeface="+mn-lt"/>
              </a:rPr>
              <a:t>资金交易智能化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ea"/>
              <a:sym typeface="+mn-lt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3773492" y="1295347"/>
            <a:ext cx="2291255" cy="666586"/>
          </a:xfrm>
          <a:prstGeom prst="roundRect">
            <a:avLst/>
          </a:prstGeom>
          <a:solidFill>
            <a:srgbClr val="FEE7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查询类网银卡</a:t>
            </a:r>
            <a:endParaRPr kumimoji="0" lang="en-US" altLang="zh-CN" sz="14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管理类网银卡</a:t>
            </a:r>
            <a:endParaRPr kumimoji="0" lang="en-US" altLang="zh-CN" sz="14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b="1" kern="0">
                <a:solidFill>
                  <a:prstClr val="black"/>
                </a:solidFill>
                <a:latin typeface="华文楷体"/>
                <a:ea typeface="华文楷体"/>
              </a:rPr>
              <a:t>支</a:t>
            </a:r>
            <a:r>
              <a:rPr lang="zh-CN" altLang="en-US" sz="1400" b="1" kern="0" smtClean="0">
                <a:solidFill>
                  <a:prstClr val="black"/>
                </a:solidFill>
                <a:latin typeface="华文楷体"/>
                <a:ea typeface="华文楷体"/>
              </a:rPr>
              <a:t>付类网银卡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282262" y="1415395"/>
            <a:ext cx="1524000" cy="40990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28575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141670" y="1418290"/>
            <a:ext cx="2590801" cy="53252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网银卡集成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" name="椭圆 8"/>
          <p:cNvSpPr/>
          <p:nvPr/>
        </p:nvSpPr>
        <p:spPr>
          <a:xfrm>
            <a:off x="876793" y="1480771"/>
            <a:ext cx="261661" cy="244139"/>
          </a:xfrm>
          <a:prstGeom prst="ellipse">
            <a:avLst/>
          </a:prstGeom>
          <a:solidFill>
            <a:srgbClr val="EA550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 panose="02010600040101010101" pitchFamily="2" charset="-122"/>
                <a:ea typeface="华文楷体"/>
                <a:cs typeface="+mn-cs"/>
              </a:rPr>
              <a:t>1</a:t>
            </a:r>
            <a:endParaRPr kumimoji="0" lang="zh-CN" alt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282265" y="2286294"/>
            <a:ext cx="1524000" cy="40990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28575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1162644" y="2297056"/>
            <a:ext cx="2590801" cy="64113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网银卡盘点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" name="椭圆 11"/>
          <p:cNvSpPr/>
          <p:nvPr/>
        </p:nvSpPr>
        <p:spPr>
          <a:xfrm>
            <a:off x="876521" y="2362566"/>
            <a:ext cx="261661" cy="244139"/>
          </a:xfrm>
          <a:prstGeom prst="ellipse">
            <a:avLst/>
          </a:prstGeom>
          <a:solidFill>
            <a:srgbClr val="EA550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 panose="02010600040101010101" pitchFamily="2" charset="-122"/>
                <a:ea typeface="华文楷体"/>
                <a:cs typeface="+mn-cs"/>
              </a:rPr>
              <a:t>2</a:t>
            </a:r>
            <a:endParaRPr kumimoji="0" lang="zh-CN" alt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15" name="圆角矩形 14"/>
          <p:cNvSpPr/>
          <p:nvPr/>
        </p:nvSpPr>
        <p:spPr>
          <a:xfrm>
            <a:off x="800754" y="3056877"/>
            <a:ext cx="2766139" cy="957997"/>
          </a:xfrm>
          <a:prstGeom prst="roundRect">
            <a:avLst>
              <a:gd name="adj" fmla="val 14305"/>
            </a:avLst>
          </a:prstGeom>
          <a:solidFill>
            <a:sysClr val="window" lastClr="FFFFFF">
              <a:lumMod val="95000"/>
            </a:sysClr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1282262" y="3338707"/>
            <a:ext cx="1524000" cy="409903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285750" marR="0" lvl="0" indent="-1800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151253" y="3344786"/>
            <a:ext cx="2590801" cy="641131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>
                <a:solidFill>
                  <a:prstClr val="black"/>
                </a:solidFill>
              </a:rPr>
              <a:t>网</a:t>
            </a:r>
            <a:r>
              <a:rPr lang="zh-CN" altLang="en-US" sz="1600" b="1" kern="0" smtClean="0">
                <a:solidFill>
                  <a:prstClr val="black"/>
                </a:solidFill>
              </a:rPr>
              <a:t>银交易</a:t>
            </a:r>
            <a:endParaRPr kumimoji="0" lang="zh-CN" altLang="en-US" sz="16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876521" y="3396538"/>
            <a:ext cx="261661" cy="244139"/>
          </a:xfrm>
          <a:prstGeom prst="ellipse">
            <a:avLst/>
          </a:prstGeom>
          <a:solidFill>
            <a:srgbClr val="EA550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 panose="02010600040101010101" pitchFamily="2" charset="-122"/>
                <a:ea typeface="华文楷体"/>
                <a:cs typeface="+mn-cs"/>
              </a:rPr>
              <a:t>3</a:t>
            </a:r>
            <a:endParaRPr kumimoji="0" lang="zh-CN" alt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cs"/>
            </a:endParaRPr>
          </a:p>
        </p:txBody>
      </p:sp>
      <p:sp>
        <p:nvSpPr>
          <p:cNvPr id="19" name="圆角矩形 18"/>
          <p:cNvSpPr/>
          <p:nvPr/>
        </p:nvSpPr>
        <p:spPr>
          <a:xfrm>
            <a:off x="3773489" y="3056877"/>
            <a:ext cx="2291258" cy="444448"/>
          </a:xfrm>
          <a:prstGeom prst="roundRect">
            <a:avLst/>
          </a:prstGeom>
          <a:solidFill>
            <a:srgbClr val="E9550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b="1" kern="0">
                <a:solidFill>
                  <a:prstClr val="white"/>
                </a:solidFill>
                <a:latin typeface="华文楷体"/>
                <a:ea typeface="华文楷体"/>
              </a:rPr>
              <a:t>线</a:t>
            </a:r>
            <a:r>
              <a:rPr lang="zh-CN" altLang="en-US" sz="1400" b="1" kern="0" smtClean="0">
                <a:solidFill>
                  <a:prstClr val="white"/>
                </a:solidFill>
                <a:latin typeface="华文楷体"/>
                <a:ea typeface="华文楷体"/>
              </a:rPr>
              <a:t>上资金收付</a:t>
            </a:r>
            <a:endParaRPr kumimoji="0" lang="en-US" altLang="zh-CN" sz="14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20" name="圆角矩形 19"/>
          <p:cNvSpPr/>
          <p:nvPr/>
        </p:nvSpPr>
        <p:spPr>
          <a:xfrm>
            <a:off x="3773489" y="3575425"/>
            <a:ext cx="2291258" cy="444448"/>
          </a:xfrm>
          <a:prstGeom prst="roundRect">
            <a:avLst/>
          </a:prstGeom>
          <a:solidFill>
            <a:srgbClr val="FEE7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线下人工收付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568966" y="1270681"/>
            <a:ext cx="4951521" cy="67675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6755516" y="1394951"/>
            <a:ext cx="4414053" cy="441670"/>
          </a:xfrm>
          <a:prstGeom prst="rect">
            <a:avLst/>
          </a:prstGeom>
          <a:ln w="19050">
            <a:solidFill>
              <a:srgbClr val="F05A23"/>
            </a:solidFill>
            <a:prstDash val="dash"/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marL="105750" algn="ctr"/>
            <a:r>
              <a:rPr lang="en-US" altLang="zh-CN" sz="1400" b="1" smtClean="0">
                <a:solidFill>
                  <a:prstClr val="black"/>
                </a:solidFill>
                <a:latin typeface="华文楷体"/>
              </a:rPr>
              <a:t>16000+</a:t>
            </a:r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张网银卡</a:t>
            </a:r>
            <a:endParaRPr lang="zh-CN" altLang="en-US" sz="1400" b="1" dirty="0" smtClean="0">
              <a:solidFill>
                <a:prstClr val="black"/>
              </a:solidFill>
              <a:latin typeface="华文楷体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642538" y="1347545"/>
            <a:ext cx="1807779" cy="5692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568966" y="2140481"/>
            <a:ext cx="4951521" cy="72605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6748841" y="2247814"/>
            <a:ext cx="4411389" cy="474747"/>
          </a:xfrm>
          <a:prstGeom prst="rect">
            <a:avLst/>
          </a:prstGeom>
          <a:ln w="19050">
            <a:solidFill>
              <a:srgbClr val="F05A23"/>
            </a:solidFill>
            <a:prstDash val="dash"/>
          </a:ln>
        </p:spPr>
        <p:txBody>
          <a:bodyPr vert="horz" wrap="square" lIns="91440" tIns="45720" rIns="91440" bIns="45720" rtlCol="0" anchor="ctr">
            <a:normAutofit/>
          </a:bodyPr>
          <a:lstStyle/>
          <a:p>
            <a:pPr marL="105750" algn="ctr"/>
            <a:r>
              <a:rPr lang="en-US" altLang="zh-CN" sz="1400" b="1" smtClean="0">
                <a:solidFill>
                  <a:prstClr val="black"/>
                </a:solidFill>
                <a:latin typeface="华文楷体"/>
              </a:rPr>
              <a:t>5</a:t>
            </a:r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天完成</a:t>
            </a:r>
            <a:r>
              <a:rPr lang="en-US" altLang="zh-CN" sz="1400" b="1" smtClean="0">
                <a:solidFill>
                  <a:prstClr val="black"/>
                </a:solidFill>
                <a:latin typeface="华文楷体"/>
              </a:rPr>
              <a:t>16000+</a:t>
            </a:r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张网银卡盘点</a:t>
            </a:r>
            <a:endParaRPr lang="zh-CN" altLang="en-US" sz="1400" b="1" dirty="0" smtClean="0">
              <a:solidFill>
                <a:prstClr val="black"/>
              </a:solidFill>
              <a:latin typeface="华文楷体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6642538" y="2092743"/>
            <a:ext cx="1807779" cy="56921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568966" y="3022998"/>
            <a:ext cx="4951521" cy="478327"/>
          </a:xfrm>
          <a:prstGeom prst="rect">
            <a:avLst/>
          </a:prstGeom>
          <a:solidFill>
            <a:srgbClr val="E95504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6755517" y="3124092"/>
            <a:ext cx="1232345" cy="252566"/>
          </a:xfrm>
          <a:prstGeom prst="rect">
            <a:avLst/>
          </a:prstGeom>
          <a:ln w="19050">
            <a:solidFill>
              <a:sysClr val="window" lastClr="FFFFFF"/>
            </a:solidFill>
            <a:prstDash val="dash"/>
          </a:ln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marL="1057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smtClean="0">
                <a:solidFill>
                  <a:prstClr val="white"/>
                </a:solidFill>
                <a:latin typeface="华文楷体"/>
              </a:rPr>
              <a:t>1000+</a:t>
            </a: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/>
              </a:rPr>
              <a:t>家公司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8217550" y="3124092"/>
            <a:ext cx="1395533" cy="252566"/>
          </a:xfrm>
          <a:prstGeom prst="rect">
            <a:avLst/>
          </a:prstGeom>
          <a:ln w="19050">
            <a:solidFill>
              <a:sysClr val="window" lastClr="FFFFFF"/>
            </a:solidFill>
            <a:prstDash val="dash"/>
          </a:ln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marL="1057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b="1" kern="0" smtClean="0">
                <a:solidFill>
                  <a:prstClr val="white"/>
                </a:solidFill>
                <a:latin typeface="华文楷体"/>
              </a:rPr>
              <a:t>9000+</a:t>
            </a:r>
            <a:r>
              <a:rPr lang="zh-CN" altLang="en-US" sz="1400" b="1" kern="0" smtClean="0">
                <a:solidFill>
                  <a:prstClr val="white"/>
                </a:solidFill>
                <a:latin typeface="华文楷体"/>
              </a:rPr>
              <a:t>收付账户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9787467" y="3119634"/>
            <a:ext cx="1648177" cy="257024"/>
          </a:xfrm>
          <a:prstGeom prst="rect">
            <a:avLst/>
          </a:prstGeom>
          <a:ln w="19050">
            <a:solidFill>
              <a:sysClr val="window" lastClr="FFFFFF"/>
            </a:solidFill>
            <a:prstDash val="dash"/>
          </a:ln>
        </p:spPr>
        <p:txBody>
          <a:bodyPr vert="horz" wrap="square" lIns="91440" tIns="45720" rIns="91440" bIns="45720" rtlCol="0" anchor="ctr">
            <a:normAutofit fontScale="92500" lnSpcReduction="20000"/>
          </a:bodyPr>
          <a:lstStyle/>
          <a:p>
            <a:pPr marL="10575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kern="0" noProof="0" smtClean="0">
                <a:solidFill>
                  <a:prstClr val="white"/>
                </a:solidFill>
                <a:latin typeface="华文楷体"/>
              </a:rPr>
              <a:t>日资金交易超千亿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6568966" y="3564909"/>
            <a:ext cx="4951521" cy="44996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6755516" y="3666003"/>
            <a:ext cx="2203288" cy="252566"/>
          </a:xfrm>
          <a:prstGeom prst="rect">
            <a:avLst/>
          </a:prstGeom>
          <a:ln w="19050">
            <a:solidFill>
              <a:srgbClr val="F05A23"/>
            </a:solidFill>
            <a:prstDash val="dash"/>
          </a:ln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marL="105750"/>
            <a:r>
              <a:rPr lang="en-US" altLang="zh-CN" sz="1400" b="1" smtClean="0">
                <a:solidFill>
                  <a:prstClr val="black"/>
                </a:solidFill>
                <a:latin typeface="华文楷体"/>
              </a:rPr>
              <a:t>1000+</a:t>
            </a:r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账户需线下执行交易</a:t>
            </a:r>
            <a:endParaRPr lang="zh-CN" altLang="en-US" sz="1400" b="1" dirty="0" smtClean="0">
              <a:solidFill>
                <a:prstClr val="black"/>
              </a:solidFill>
              <a:latin typeface="华文楷体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9132426" y="3661545"/>
            <a:ext cx="2207642" cy="257024"/>
          </a:xfrm>
          <a:prstGeom prst="rect">
            <a:avLst/>
          </a:prstGeom>
          <a:ln w="19050">
            <a:solidFill>
              <a:srgbClr val="F05A23"/>
            </a:solidFill>
            <a:prstDash val="dash"/>
          </a:ln>
        </p:spPr>
        <p:txBody>
          <a:bodyPr vert="horz" wrap="square" lIns="91440" tIns="45720" rIns="91440" bIns="45720" rtlCol="0" anchor="ctr">
            <a:normAutofit fontScale="92500" lnSpcReduction="20000"/>
          </a:bodyPr>
          <a:lstStyle/>
          <a:p>
            <a:pPr marL="105750" algn="ctr"/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人工处理需</a:t>
            </a:r>
            <a:r>
              <a:rPr lang="en-US" altLang="zh-CN" sz="1400" b="1" smtClean="0">
                <a:solidFill>
                  <a:prstClr val="black"/>
                </a:solidFill>
                <a:latin typeface="华文楷体"/>
              </a:rPr>
              <a:t>1</a:t>
            </a:r>
            <a:r>
              <a:rPr lang="zh-CN" altLang="en-US" sz="1400" b="1" smtClean="0">
                <a:solidFill>
                  <a:prstClr val="black"/>
                </a:solidFill>
                <a:latin typeface="华文楷体"/>
              </a:rPr>
              <a:t>小时内完成</a:t>
            </a:r>
            <a:endParaRPr lang="zh-CN" altLang="en-US" sz="1400" b="1" dirty="0" smtClean="0">
              <a:solidFill>
                <a:prstClr val="black"/>
              </a:solidFill>
              <a:latin typeface="华文楷体"/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330443" y="4286567"/>
            <a:ext cx="339486" cy="2042671"/>
          </a:xfrm>
          <a:prstGeom prst="roundRect">
            <a:avLst>
              <a:gd name="adj" fmla="val 10637"/>
            </a:avLst>
          </a:prstGeom>
          <a:solidFill>
            <a:srgbClr val="E95504"/>
          </a:solidFill>
          <a:ln w="3175" cap="flat" cmpd="sng" algn="ctr">
            <a:solidFill>
              <a:srgbClr val="EA550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华文楷体" panose="02010600040101010101" pitchFamily="2" charset="-122"/>
                <a:ea typeface="华文楷体"/>
                <a:cs typeface="+mn-ea"/>
                <a:sym typeface="+mn-lt"/>
              </a:rPr>
              <a:t>作业规模</a:t>
            </a:r>
            <a:endParaRPr kumimoji="0" lang="en-US" altLang="zh-CN" sz="1600" b="1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ea"/>
              <a:sym typeface="+mn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华文楷体" panose="02010600040101010101" pitchFamily="2" charset="-122"/>
              <a:ea typeface="华文楷体"/>
              <a:cs typeface="+mn-ea"/>
              <a:sym typeface="+mn-lt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3773492" y="2167088"/>
            <a:ext cx="2291255" cy="666586"/>
          </a:xfrm>
          <a:prstGeom prst="roundRect">
            <a:avLst/>
          </a:prstGeom>
          <a:solidFill>
            <a:srgbClr val="FEE7D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季度网银卡盘点</a:t>
            </a:r>
            <a:endParaRPr kumimoji="0" lang="zh-CN" alt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graphicFrame>
        <p:nvGraphicFramePr>
          <p:cNvPr id="26" name="图表 25"/>
          <p:cNvGraphicFramePr/>
          <p:nvPr>
            <p:extLst>
              <p:ext uri="{D42A27DB-BD31-4B8C-83A1-F6EECF244321}">
                <p14:modId xmlns:p14="http://schemas.microsoft.com/office/powerpoint/2010/main" val="2591573042"/>
              </p:ext>
            </p:extLst>
          </p:nvPr>
        </p:nvGraphicFramePr>
        <p:xfrm>
          <a:off x="1240966" y="4273826"/>
          <a:ext cx="4250813" cy="217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图表 31"/>
          <p:cNvGraphicFramePr/>
          <p:nvPr>
            <p:extLst>
              <p:ext uri="{D42A27DB-BD31-4B8C-83A1-F6EECF244321}">
                <p14:modId xmlns:p14="http://schemas.microsoft.com/office/powerpoint/2010/main" val="4193747141"/>
              </p:ext>
            </p:extLst>
          </p:nvPr>
        </p:nvGraphicFramePr>
        <p:xfrm>
          <a:off x="5434046" y="4302783"/>
          <a:ext cx="3102321" cy="2079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图表 39"/>
          <p:cNvGraphicFramePr/>
          <p:nvPr>
            <p:extLst>
              <p:ext uri="{D42A27DB-BD31-4B8C-83A1-F6EECF244321}">
                <p14:modId xmlns:p14="http://schemas.microsoft.com/office/powerpoint/2010/main" val="792805296"/>
              </p:ext>
            </p:extLst>
          </p:nvPr>
        </p:nvGraphicFramePr>
        <p:xfrm>
          <a:off x="8450317" y="4416967"/>
          <a:ext cx="3302511" cy="2068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文本框 41"/>
          <p:cNvSpPr txBox="1"/>
          <p:nvPr/>
        </p:nvSpPr>
        <p:spPr>
          <a:xfrm>
            <a:off x="11024452" y="4562840"/>
            <a:ext cx="631232" cy="27137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700" smtClean="0">
                <a:solidFill>
                  <a:schemeClr val="tx1"/>
                </a:solidFill>
              </a:rPr>
              <a:t>单位：亿元</a:t>
            </a:r>
            <a:endParaRPr lang="zh-CN" altLang="en-US" sz="7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55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60000" y="146390"/>
            <a:ext cx="11478878" cy="553359"/>
          </a:xfrm>
        </p:spPr>
        <p:txBody>
          <a:bodyPr/>
          <a:lstStyle/>
          <a:p>
            <a:r>
              <a:rPr lang="zh-CN" altLang="en-US"/>
              <a:t>方案介绍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922842" y="1260485"/>
            <a:ext cx="10353194" cy="1235789"/>
            <a:chOff x="922842" y="1409394"/>
            <a:chExt cx="10353194" cy="1235789"/>
          </a:xfrm>
        </p:grpSpPr>
        <p:sp>
          <p:nvSpPr>
            <p:cNvPr id="4" name="矩形 3"/>
            <p:cNvSpPr/>
            <p:nvPr/>
          </p:nvSpPr>
          <p:spPr>
            <a:xfrm>
              <a:off x="922842" y="1409394"/>
              <a:ext cx="1035319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zh-CN" altLang="en-US" b="1" smtClean="0">
                  <a:solidFill>
                    <a:srgbClr val="FEE7DA"/>
                  </a:solidFill>
                  <a:latin typeface="+mn-ea"/>
                  <a:cs typeface="+mj-cs"/>
                  <a:sym typeface="Trebuchet MS" panose="020B0603020202020204" pitchFamily="34" charset="0"/>
                </a:rPr>
                <a:t>线下资金支付作业，可能存在作业遗漏，支付不及时的情况；</a:t>
              </a:r>
              <a:endParaRPr lang="en-US" altLang="zh-CN" b="1" smtClean="0">
                <a:solidFill>
                  <a:srgbClr val="FEE7DA"/>
                </a:solidFill>
                <a:latin typeface="+mn-ea"/>
                <a:cs typeface="+mj-cs"/>
                <a:sym typeface="Trebuchet MS" panose="020B0603020202020204" pitchFamily="34" charset="0"/>
              </a:endParaRPr>
            </a:p>
            <a:p>
              <a:pPr>
                <a:spcBef>
                  <a:spcPct val="0"/>
                </a:spcBef>
              </a:pPr>
              <a:r>
                <a:rPr lang="zh-CN" altLang="en-US" b="1" smtClean="0">
                  <a:solidFill>
                    <a:srgbClr val="FEE7DA"/>
                  </a:solidFill>
                  <a:latin typeface="+mn-ea"/>
                  <a:cs typeface="+mj-cs"/>
                  <a:sym typeface="Trebuchet MS" panose="020B0603020202020204" pitchFamily="34" charset="0"/>
                </a:rPr>
                <a:t>出现灾情情况下，可以减少人力耗费，避免出现无法完成交易的情况。</a:t>
              </a:r>
              <a:endParaRPr lang="zh-CN" altLang="en-US" b="1">
                <a:solidFill>
                  <a:srgbClr val="FEE7DA"/>
                </a:solidFill>
                <a:latin typeface="+mn-ea"/>
                <a:cs typeface="+mj-cs"/>
                <a:sym typeface="Trebuchet MS" panose="020B0603020202020204" pitchFamily="34" charset="0"/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1081668" y="2024294"/>
              <a:ext cx="2595582" cy="58477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en-US" altLang="zh-CN" sz="3200" b="1" kern="0" smtClean="0">
                  <a:solidFill>
                    <a:srgbClr val="FF6400"/>
                  </a:solidFill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10</a:t>
              </a:r>
              <a:r>
                <a:rPr lang="zh-CN" altLang="en-US" sz="3200" b="1" kern="0" smtClean="0">
                  <a:solidFill>
                    <a:srgbClr val="FF6400"/>
                  </a:solidFill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大</a:t>
              </a:r>
              <a:r>
                <a:rPr lang="zh-CN" altLang="en-US" kern="0" smtClean="0"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交易作业业环节</a:t>
              </a:r>
              <a:endParaRPr lang="zh-CN" altLang="en-US" sz="3200">
                <a:effectLst>
                  <a:reflection blurRad="6350" stA="55000" endA="50" endPos="85000" dir="5400000" sy="-100000" algn="bl" rotWithShape="0"/>
                </a:effectLst>
                <a:latin typeface="+mn-ea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4479402" y="2060408"/>
              <a:ext cx="4037207" cy="58477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en-US" altLang="zh-CN" sz="3200" b="1" kern="0" smtClean="0">
                  <a:solidFill>
                    <a:srgbClr val="FF6400"/>
                  </a:solidFill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RPA</a:t>
              </a:r>
              <a:r>
                <a:rPr lang="zh-CN" altLang="en-US" sz="3200" b="1" kern="0" smtClean="0">
                  <a:solidFill>
                    <a:srgbClr val="FF6400"/>
                  </a:solidFill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与人工</a:t>
              </a:r>
              <a:r>
                <a:rPr lang="zh-CN" altLang="en-US" kern="0" smtClean="0">
                  <a:effectLst>
                    <a:reflection blurRad="6350" stA="55000" endA="50" endPos="85000" dir="5400000" sy="-100000" algn="bl" rotWithShape="0"/>
                  </a:effectLst>
                  <a:latin typeface="+mn-ea"/>
                </a:rPr>
                <a:t>串联作业</a:t>
              </a:r>
              <a:endParaRPr lang="zh-CN" altLang="en-US" sz="3200">
                <a:effectLst>
                  <a:reflection blurRad="6350" stA="55000" endA="50" endPos="85000" dir="5400000" sy="-100000" algn="bl" rotWithShape="0"/>
                </a:effectLst>
                <a:latin typeface="+mn-ea"/>
              </a:endParaRPr>
            </a:p>
          </p:txBody>
        </p:sp>
      </p:grpSp>
      <p:sp>
        <p:nvSpPr>
          <p:cNvPr id="8" name="五边形 7"/>
          <p:cNvSpPr/>
          <p:nvPr/>
        </p:nvSpPr>
        <p:spPr>
          <a:xfrm>
            <a:off x="360000" y="750549"/>
            <a:ext cx="1554500" cy="360000"/>
          </a:xfrm>
          <a:prstGeom prst="homePlate">
            <a:avLst>
              <a:gd name="adj" fmla="val 26117"/>
            </a:avLst>
          </a:prstGeom>
          <a:solidFill>
            <a:srgbClr val="EA5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>
                <a:solidFill>
                  <a:prstClr val="white"/>
                </a:solidFill>
                <a:latin typeface="+mn-ea"/>
              </a:rPr>
              <a:t>场</a:t>
            </a:r>
            <a:r>
              <a:rPr lang="zh-CN" altLang="en-US" sz="1600" b="1" smtClean="0">
                <a:solidFill>
                  <a:prstClr val="white"/>
                </a:solidFill>
                <a:latin typeface="+mn-ea"/>
              </a:rPr>
              <a:t>景分析</a:t>
            </a:r>
            <a:endParaRPr lang="zh-CN" altLang="en-US" sz="1600" b="1">
              <a:solidFill>
                <a:prstClr val="white"/>
              </a:solidFill>
              <a:latin typeface="+mn-ea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8681013" y="1963533"/>
            <a:ext cx="3221672" cy="584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altLang="zh-CN" sz="3200" b="1" kern="0" smtClean="0">
                <a:solidFill>
                  <a:srgbClr val="FF6400"/>
                </a:solidFill>
                <a:effectLst>
                  <a:reflection blurRad="6350" stA="55000" endA="50" endPos="85000" dir="5400000" sy="-100000" algn="bl" rotWithShape="0"/>
                </a:effectLst>
                <a:latin typeface="+mn-ea"/>
              </a:rPr>
              <a:t>30+</a:t>
            </a:r>
            <a:r>
              <a:rPr lang="zh-CN" altLang="en-US" sz="3200" b="1" kern="0" smtClean="0">
                <a:solidFill>
                  <a:srgbClr val="FF6400"/>
                </a:solidFill>
                <a:effectLst>
                  <a:reflection blurRad="6350" stA="55000" endA="50" endPos="85000" dir="5400000" sy="-100000" algn="bl" rotWithShape="0"/>
                </a:effectLst>
                <a:latin typeface="+mn-ea"/>
              </a:rPr>
              <a:t>分钟</a:t>
            </a:r>
            <a:r>
              <a:rPr lang="zh-CN" altLang="en-US" kern="0" smtClean="0">
                <a:effectLst>
                  <a:reflection blurRad="6350" stA="55000" endA="50" endPos="85000" dir="5400000" sy="-100000" algn="bl" rotWithShape="0"/>
                </a:effectLst>
                <a:latin typeface="+mn-ea"/>
              </a:rPr>
              <a:t>单笔交易耗时</a:t>
            </a:r>
            <a:endParaRPr lang="zh-CN" altLang="en-US" kern="0">
              <a:effectLst>
                <a:reflection blurRad="6350" stA="55000" endA="50" endPos="85000" dir="5400000" sy="-100000" algn="bl" rotWithShape="0"/>
              </a:effectLst>
              <a:latin typeface="+mn-ea"/>
            </a:endParaRPr>
          </a:p>
        </p:txBody>
      </p:sp>
      <p:sp>
        <p:nvSpPr>
          <p:cNvPr id="11" name="五边形 10"/>
          <p:cNvSpPr/>
          <p:nvPr/>
        </p:nvSpPr>
        <p:spPr>
          <a:xfrm>
            <a:off x="360000" y="2595264"/>
            <a:ext cx="1554500" cy="360000"/>
          </a:xfrm>
          <a:prstGeom prst="homePlate">
            <a:avLst>
              <a:gd name="adj" fmla="val 26117"/>
            </a:avLst>
          </a:prstGeom>
          <a:solidFill>
            <a:srgbClr val="EA5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smtClean="0">
                <a:solidFill>
                  <a:prstClr val="white"/>
                </a:solidFill>
                <a:latin typeface="+mn-ea"/>
              </a:rPr>
              <a:t>操作流</a:t>
            </a:r>
            <a:r>
              <a:rPr lang="zh-CN" altLang="en-US" sz="1600" b="1">
                <a:solidFill>
                  <a:prstClr val="white"/>
                </a:solidFill>
                <a:latin typeface="+mn-ea"/>
              </a:rPr>
              <a:t>程</a:t>
            </a:r>
          </a:p>
        </p:txBody>
      </p:sp>
      <p:sp>
        <p:nvSpPr>
          <p:cNvPr id="57" name="燕尾形 56"/>
          <p:cNvSpPr/>
          <p:nvPr/>
        </p:nvSpPr>
        <p:spPr>
          <a:xfrm>
            <a:off x="9340380" y="3148608"/>
            <a:ext cx="2261317" cy="301783"/>
          </a:xfrm>
          <a:prstGeom prst="chevron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3</a:t>
            </a:r>
            <a:r>
              <a:rPr kumimoji="0" lang="zh-C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、数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据上报</a:t>
            </a:r>
          </a:p>
        </p:txBody>
      </p:sp>
      <p:sp>
        <p:nvSpPr>
          <p:cNvPr id="58" name="五边形 57"/>
          <p:cNvSpPr/>
          <p:nvPr/>
        </p:nvSpPr>
        <p:spPr>
          <a:xfrm>
            <a:off x="719532" y="3148608"/>
            <a:ext cx="4434528" cy="301783"/>
          </a:xfrm>
          <a:prstGeom prst="homePlate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</a:t>
            </a:r>
            <a:r>
              <a:rPr kumimoji="0" lang="zh-C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、指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令审核</a:t>
            </a:r>
          </a:p>
        </p:txBody>
      </p:sp>
      <p:sp>
        <p:nvSpPr>
          <p:cNvPr id="60" name="燕尾形 59"/>
          <p:cNvSpPr/>
          <p:nvPr/>
        </p:nvSpPr>
        <p:spPr>
          <a:xfrm>
            <a:off x="5071641" y="3148608"/>
            <a:ext cx="4347150" cy="301783"/>
          </a:xfrm>
          <a:prstGeom prst="chevron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</a:t>
            </a:r>
            <a:r>
              <a:rPr kumimoji="0" lang="zh-C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、交</a:t>
            </a:r>
            <a:r>
              <a:rPr kumimoji="0" lang="zh-CN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易执行</a:t>
            </a:r>
          </a:p>
        </p:txBody>
      </p:sp>
      <p:sp>
        <p:nvSpPr>
          <p:cNvPr id="61" name="燕尾形 60"/>
          <p:cNvSpPr/>
          <p:nvPr/>
        </p:nvSpPr>
        <p:spPr>
          <a:xfrm>
            <a:off x="2897165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3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任务分派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62" name="燕尾形 61"/>
          <p:cNvSpPr/>
          <p:nvPr/>
        </p:nvSpPr>
        <p:spPr>
          <a:xfrm>
            <a:off x="3983818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4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工作量登记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63" name="燕尾形 62"/>
          <p:cNvSpPr/>
          <p:nvPr/>
        </p:nvSpPr>
        <p:spPr>
          <a:xfrm>
            <a:off x="723859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审核交易指令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64" name="燕尾形 63"/>
          <p:cNvSpPr/>
          <p:nvPr/>
        </p:nvSpPr>
        <p:spPr>
          <a:xfrm>
            <a:off x="1810512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审核台账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65" name="燕尾形 64"/>
          <p:cNvSpPr/>
          <p:nvPr/>
        </p:nvSpPr>
        <p:spPr>
          <a:xfrm>
            <a:off x="7243777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3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反馈交易结果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66" name="燕尾形 65"/>
          <p:cNvSpPr/>
          <p:nvPr/>
        </p:nvSpPr>
        <p:spPr>
          <a:xfrm>
            <a:off x="8330430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4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工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作量登记</a:t>
            </a:r>
          </a:p>
        </p:txBody>
      </p:sp>
      <p:sp>
        <p:nvSpPr>
          <p:cNvPr id="67" name="燕尾形 66"/>
          <p:cNvSpPr/>
          <p:nvPr/>
        </p:nvSpPr>
        <p:spPr>
          <a:xfrm>
            <a:off x="5070471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记交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易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台账</a:t>
            </a:r>
          </a:p>
        </p:txBody>
      </p:sp>
      <p:sp>
        <p:nvSpPr>
          <p:cNvPr id="68" name="燕尾形 67"/>
          <p:cNvSpPr/>
          <p:nvPr/>
        </p:nvSpPr>
        <p:spPr>
          <a:xfrm>
            <a:off x="6157124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资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金交易</a:t>
            </a:r>
          </a:p>
        </p:txBody>
      </p:sp>
      <p:sp>
        <p:nvSpPr>
          <p:cNvPr id="69" name="燕尾形 68"/>
          <p:cNvSpPr/>
          <p:nvPr/>
        </p:nvSpPr>
        <p:spPr>
          <a:xfrm>
            <a:off x="9417083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3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非标交易统计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0" name="燕尾形 69"/>
          <p:cNvSpPr/>
          <p:nvPr/>
        </p:nvSpPr>
        <p:spPr>
          <a:xfrm>
            <a:off x="10503737" y="3525546"/>
            <a:ext cx="980198" cy="388839"/>
          </a:xfrm>
          <a:prstGeom prst="chevron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3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非标交易量上报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1" name="矩形 70"/>
          <p:cNvSpPr/>
          <p:nvPr/>
        </p:nvSpPr>
        <p:spPr>
          <a:xfrm>
            <a:off x="719532" y="3964884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审核交易指令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1810512" y="3964884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指令台账信息</a:t>
            </a:r>
          </a:p>
        </p:txBody>
      </p:sp>
      <p:sp>
        <p:nvSpPr>
          <p:cNvPr id="73" name="矩形 72"/>
          <p:cNvSpPr/>
          <p:nvPr/>
        </p:nvSpPr>
        <p:spPr>
          <a:xfrm>
            <a:off x="2892839" y="3964884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根据指令要素确定派工对象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4" name="矩形 73"/>
          <p:cNvSpPr/>
          <p:nvPr/>
        </p:nvSpPr>
        <p:spPr>
          <a:xfrm>
            <a:off x="2892839" y="4468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下发作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业邮件</a:t>
            </a:r>
          </a:p>
        </p:txBody>
      </p:sp>
      <p:sp>
        <p:nvSpPr>
          <p:cNvPr id="75" name="矩形 74"/>
          <p:cNvSpPr/>
          <p:nvPr/>
        </p:nvSpPr>
        <p:spPr>
          <a:xfrm>
            <a:off x="3997784" y="3964883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登记审核作业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量</a:t>
            </a:r>
            <a:endParaRPr kumimoji="0" lang="en-US" altLang="zh-CN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76" name="矩形 75"/>
          <p:cNvSpPr/>
          <p:nvPr/>
        </p:nvSpPr>
        <p:spPr>
          <a:xfrm>
            <a:off x="5066145" y="3964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具体交易信息</a:t>
            </a:r>
          </a:p>
        </p:txBody>
      </p:sp>
      <p:sp>
        <p:nvSpPr>
          <p:cNvPr id="78" name="矩形 77"/>
          <p:cNvSpPr/>
          <p:nvPr/>
        </p:nvSpPr>
        <p:spPr>
          <a:xfrm>
            <a:off x="6158045" y="4253935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华文楷体"/>
                <a:cs typeface="+mn-cs"/>
              </a:rPr>
              <a:t>录入交易信息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79" name="矩形 78"/>
          <p:cNvSpPr/>
          <p:nvPr/>
        </p:nvSpPr>
        <p:spPr>
          <a:xfrm>
            <a:off x="6158045" y="4553130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反馈录入完成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0" name="矩形 79"/>
          <p:cNvSpPr/>
          <p:nvPr/>
        </p:nvSpPr>
        <p:spPr>
          <a:xfrm>
            <a:off x="6158045" y="4852327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录复核网银</a:t>
            </a:r>
          </a:p>
        </p:txBody>
      </p:sp>
      <p:sp>
        <p:nvSpPr>
          <p:cNvPr id="81" name="矩形 80"/>
          <p:cNvSpPr/>
          <p:nvPr/>
        </p:nvSpPr>
        <p:spPr>
          <a:xfrm>
            <a:off x="6152798" y="3960720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登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华文楷体"/>
                <a:cs typeface="+mn-cs"/>
              </a:rPr>
              <a:t>录经办网银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6163292" y="5166109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比对录入信息</a:t>
            </a:r>
          </a:p>
        </p:txBody>
      </p:sp>
      <p:sp>
        <p:nvSpPr>
          <p:cNvPr id="85" name="矩形 84"/>
          <p:cNvSpPr/>
          <p:nvPr/>
        </p:nvSpPr>
        <p:spPr>
          <a:xfrm>
            <a:off x="6163292" y="5465305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反馈复核完成</a:t>
            </a:r>
          </a:p>
        </p:txBody>
      </p:sp>
      <p:sp>
        <p:nvSpPr>
          <p:cNvPr id="86" name="矩形 85"/>
          <p:cNvSpPr/>
          <p:nvPr/>
        </p:nvSpPr>
        <p:spPr>
          <a:xfrm>
            <a:off x="6163292" y="5764498"/>
            <a:ext cx="984524" cy="25859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完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成交易授权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87" name="矩形 86"/>
          <p:cNvSpPr/>
          <p:nvPr/>
        </p:nvSpPr>
        <p:spPr>
          <a:xfrm>
            <a:off x="7239451" y="3964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反馈交易完成</a:t>
            </a:r>
          </a:p>
        </p:txBody>
      </p:sp>
      <p:sp>
        <p:nvSpPr>
          <p:cNvPr id="88" name="矩形 87"/>
          <p:cNvSpPr/>
          <p:nvPr/>
        </p:nvSpPr>
        <p:spPr>
          <a:xfrm>
            <a:off x="8326104" y="3964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交易作业量</a:t>
            </a:r>
          </a:p>
        </p:txBody>
      </p:sp>
      <p:sp>
        <p:nvSpPr>
          <p:cNvPr id="89" name="矩形 88"/>
          <p:cNvSpPr/>
          <p:nvPr/>
        </p:nvSpPr>
        <p:spPr>
          <a:xfrm>
            <a:off x="9412757" y="3964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记录详细交易信息</a:t>
            </a:r>
          </a:p>
        </p:txBody>
      </p:sp>
      <p:sp>
        <p:nvSpPr>
          <p:cNvPr id="90" name="矩形 89"/>
          <p:cNvSpPr/>
          <p:nvPr/>
        </p:nvSpPr>
        <p:spPr>
          <a:xfrm>
            <a:off x="10499411" y="3964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复核信息完整性</a:t>
            </a:r>
          </a:p>
        </p:txBody>
      </p:sp>
      <p:sp>
        <p:nvSpPr>
          <p:cNvPr id="91" name="矩形 90"/>
          <p:cNvSpPr/>
          <p:nvPr/>
        </p:nvSpPr>
        <p:spPr>
          <a:xfrm>
            <a:off x="10499411" y="4468882"/>
            <a:ext cx="984524" cy="46923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上报非标交易量信息</a:t>
            </a:r>
          </a:p>
        </p:txBody>
      </p:sp>
      <p:sp>
        <p:nvSpPr>
          <p:cNvPr id="92" name="5-Point Star 44"/>
          <p:cNvSpPr/>
          <p:nvPr/>
        </p:nvSpPr>
        <p:spPr>
          <a:xfrm>
            <a:off x="2679602" y="4120857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3" name="5-Point Star 45"/>
          <p:cNvSpPr/>
          <p:nvPr/>
        </p:nvSpPr>
        <p:spPr>
          <a:xfrm>
            <a:off x="4841626" y="411371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4" name="5-Point Star 46"/>
          <p:cNvSpPr/>
          <p:nvPr/>
        </p:nvSpPr>
        <p:spPr>
          <a:xfrm>
            <a:off x="5899002" y="4106571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5" name="5-Point Star 47"/>
          <p:cNvSpPr/>
          <p:nvPr/>
        </p:nvSpPr>
        <p:spPr>
          <a:xfrm>
            <a:off x="8068740" y="4116568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6" name="5-Point Star 48"/>
          <p:cNvSpPr/>
          <p:nvPr/>
        </p:nvSpPr>
        <p:spPr>
          <a:xfrm>
            <a:off x="9192101" y="410942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7" name="5-Point Star 49"/>
          <p:cNvSpPr/>
          <p:nvPr/>
        </p:nvSpPr>
        <p:spPr>
          <a:xfrm>
            <a:off x="10287182" y="4110853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8" name="5-Point Star 50"/>
          <p:cNvSpPr/>
          <p:nvPr/>
        </p:nvSpPr>
        <p:spPr>
          <a:xfrm>
            <a:off x="11372840" y="4112281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9" name="5-Point Star 51"/>
          <p:cNvSpPr/>
          <p:nvPr/>
        </p:nvSpPr>
        <p:spPr>
          <a:xfrm>
            <a:off x="11383836" y="462789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0" name="5-Point Star 52"/>
          <p:cNvSpPr/>
          <p:nvPr/>
        </p:nvSpPr>
        <p:spPr>
          <a:xfrm>
            <a:off x="3740420" y="4125659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1" name="5-Point Star 53"/>
          <p:cNvSpPr/>
          <p:nvPr/>
        </p:nvSpPr>
        <p:spPr>
          <a:xfrm>
            <a:off x="3740420" y="4649824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2" name="5-Point Star 54"/>
          <p:cNvSpPr/>
          <p:nvPr/>
        </p:nvSpPr>
        <p:spPr>
          <a:xfrm>
            <a:off x="7029957" y="3998742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4" name="5-Point Star 56"/>
          <p:cNvSpPr/>
          <p:nvPr/>
        </p:nvSpPr>
        <p:spPr>
          <a:xfrm>
            <a:off x="7035204" y="4287738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5" name="5-Point Star 57"/>
          <p:cNvSpPr/>
          <p:nvPr/>
        </p:nvSpPr>
        <p:spPr>
          <a:xfrm>
            <a:off x="7035204" y="4563402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6" name="5-Point Star 58"/>
          <p:cNvSpPr/>
          <p:nvPr/>
        </p:nvSpPr>
        <p:spPr>
          <a:xfrm>
            <a:off x="7035204" y="4839062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9" name="5-Point Star 61"/>
          <p:cNvSpPr/>
          <p:nvPr/>
        </p:nvSpPr>
        <p:spPr>
          <a:xfrm>
            <a:off x="7040451" y="5210793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0" name="5-Point Star 62"/>
          <p:cNvSpPr/>
          <p:nvPr/>
        </p:nvSpPr>
        <p:spPr>
          <a:xfrm>
            <a:off x="7040451" y="552073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1" name="5-Point Star 54"/>
          <p:cNvSpPr/>
          <p:nvPr/>
        </p:nvSpPr>
        <p:spPr>
          <a:xfrm>
            <a:off x="6061502" y="5780800"/>
            <a:ext cx="171236" cy="180909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2" name="5-Point Star 54"/>
          <p:cNvSpPr/>
          <p:nvPr/>
        </p:nvSpPr>
        <p:spPr>
          <a:xfrm>
            <a:off x="631592" y="4078607"/>
            <a:ext cx="171236" cy="180909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3" name="5-Point Star 54"/>
          <p:cNvSpPr/>
          <p:nvPr/>
        </p:nvSpPr>
        <p:spPr>
          <a:xfrm>
            <a:off x="742812" y="5209375"/>
            <a:ext cx="271873" cy="267410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4" name="5-Point Star 44"/>
          <p:cNvSpPr/>
          <p:nvPr/>
        </p:nvSpPr>
        <p:spPr>
          <a:xfrm>
            <a:off x="709426" y="5696320"/>
            <a:ext cx="318734" cy="240523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5" name="矩形 114"/>
          <p:cNvSpPr/>
          <p:nvPr/>
        </p:nvSpPr>
        <p:spPr>
          <a:xfrm>
            <a:off x="1121130" y="5209375"/>
            <a:ext cx="901228" cy="31136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人工处理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1121130" y="5687366"/>
            <a:ext cx="901228" cy="31136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RPA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处理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4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RPA</a:t>
            </a:r>
            <a:r>
              <a:rPr lang="zh-CN" altLang="en-US" smtClean="0"/>
              <a:t>架构部署方案</a:t>
            </a:r>
            <a:endParaRPr lang="zh-CN" altLang="en-US"/>
          </a:p>
        </p:txBody>
      </p:sp>
      <p:sp>
        <p:nvSpPr>
          <p:cNvPr id="57" name="圆角矩形 56"/>
          <p:cNvSpPr/>
          <p:nvPr/>
        </p:nvSpPr>
        <p:spPr>
          <a:xfrm>
            <a:off x="4023943" y="1538374"/>
            <a:ext cx="3782805" cy="16637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05A23"/>
              </a:solidFill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367644" y="1351722"/>
            <a:ext cx="11417956" cy="50292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60" name="man-working-on-a-laptop-from-side-view_49728"/>
          <p:cNvSpPr>
            <a:spLocks noChangeAspect="1"/>
          </p:cNvSpPr>
          <p:nvPr/>
        </p:nvSpPr>
        <p:spPr bwMode="auto">
          <a:xfrm>
            <a:off x="962481" y="4145448"/>
            <a:ext cx="354636" cy="286439"/>
          </a:xfrm>
          <a:custGeom>
            <a:avLst/>
            <a:gdLst>
              <a:gd name="connsiteX0" fmla="*/ 199013 w 609377"/>
              <a:gd name="connsiteY0" fmla="*/ 435742 h 492194"/>
              <a:gd name="connsiteX1" fmla="*/ 414600 w 609377"/>
              <a:gd name="connsiteY1" fmla="*/ 435742 h 492194"/>
              <a:gd name="connsiteX2" fmla="*/ 518491 w 609377"/>
              <a:gd name="connsiteY2" fmla="*/ 435742 h 492194"/>
              <a:gd name="connsiteX3" fmla="*/ 572285 w 609377"/>
              <a:gd name="connsiteY3" fmla="*/ 435742 h 492194"/>
              <a:gd name="connsiteX4" fmla="*/ 572285 w 609377"/>
              <a:gd name="connsiteY4" fmla="*/ 478222 h 492194"/>
              <a:gd name="connsiteX5" fmla="*/ 518491 w 609377"/>
              <a:gd name="connsiteY5" fmla="*/ 478222 h 492194"/>
              <a:gd name="connsiteX6" fmla="*/ 414600 w 609377"/>
              <a:gd name="connsiteY6" fmla="*/ 478222 h 492194"/>
              <a:gd name="connsiteX7" fmla="*/ 199013 w 609377"/>
              <a:gd name="connsiteY7" fmla="*/ 478222 h 492194"/>
              <a:gd name="connsiteX8" fmla="*/ 182764 w 609377"/>
              <a:gd name="connsiteY8" fmla="*/ 461956 h 492194"/>
              <a:gd name="connsiteX9" fmla="*/ 182764 w 609377"/>
              <a:gd name="connsiteY9" fmla="*/ 452008 h 492194"/>
              <a:gd name="connsiteX10" fmla="*/ 199013 w 609377"/>
              <a:gd name="connsiteY10" fmla="*/ 435742 h 492194"/>
              <a:gd name="connsiteX11" fmla="*/ 598532 w 609377"/>
              <a:gd name="connsiteY11" fmla="*/ 183306 h 492194"/>
              <a:gd name="connsiteX12" fmla="*/ 608505 w 609377"/>
              <a:gd name="connsiteY12" fmla="*/ 203745 h 492194"/>
              <a:gd name="connsiteX13" fmla="*/ 536759 w 609377"/>
              <a:gd name="connsiteY13" fmla="*/ 412878 h 492194"/>
              <a:gd name="connsiteX14" fmla="*/ 534354 w 609377"/>
              <a:gd name="connsiteY14" fmla="*/ 417329 h 492194"/>
              <a:gd name="connsiteX15" fmla="*/ 521155 w 609377"/>
              <a:gd name="connsiteY15" fmla="*/ 424240 h 492194"/>
              <a:gd name="connsiteX16" fmla="*/ 265794 w 609377"/>
              <a:gd name="connsiteY16" fmla="*/ 424240 h 492194"/>
              <a:gd name="connsiteX17" fmla="*/ 249661 w 609377"/>
              <a:gd name="connsiteY17" fmla="*/ 408193 h 492194"/>
              <a:gd name="connsiteX18" fmla="*/ 265794 w 609377"/>
              <a:gd name="connsiteY18" fmla="*/ 392147 h 492194"/>
              <a:gd name="connsiteX19" fmla="*/ 509892 w 609377"/>
              <a:gd name="connsiteY19" fmla="*/ 392147 h 492194"/>
              <a:gd name="connsiteX20" fmla="*/ 578058 w 609377"/>
              <a:gd name="connsiteY20" fmla="*/ 193320 h 492194"/>
              <a:gd name="connsiteX21" fmla="*/ 598532 w 609377"/>
              <a:gd name="connsiteY21" fmla="*/ 183306 h 492194"/>
              <a:gd name="connsiteX22" fmla="*/ 81768 w 609377"/>
              <a:gd name="connsiteY22" fmla="*/ 179942 h 492194"/>
              <a:gd name="connsiteX23" fmla="*/ 81885 w 609377"/>
              <a:gd name="connsiteY23" fmla="*/ 180118 h 492194"/>
              <a:gd name="connsiteX24" fmla="*/ 86754 w 609377"/>
              <a:gd name="connsiteY24" fmla="*/ 179942 h 492194"/>
              <a:gd name="connsiteX25" fmla="*/ 173449 w 609377"/>
              <a:gd name="connsiteY25" fmla="*/ 266555 h 492194"/>
              <a:gd name="connsiteX26" fmla="*/ 173625 w 609377"/>
              <a:gd name="connsiteY26" fmla="*/ 286583 h 492194"/>
              <a:gd name="connsiteX27" fmla="*/ 173625 w 609377"/>
              <a:gd name="connsiteY27" fmla="*/ 310476 h 492194"/>
              <a:gd name="connsiteX28" fmla="*/ 178552 w 609377"/>
              <a:gd name="connsiteY28" fmla="*/ 310476 h 492194"/>
              <a:gd name="connsiteX29" fmla="*/ 384966 w 609377"/>
              <a:gd name="connsiteY29" fmla="*/ 310594 h 492194"/>
              <a:gd name="connsiteX30" fmla="*/ 420923 w 609377"/>
              <a:gd name="connsiteY30" fmla="*/ 346492 h 492194"/>
              <a:gd name="connsiteX31" fmla="*/ 384966 w 609377"/>
              <a:gd name="connsiteY31" fmla="*/ 382390 h 492194"/>
              <a:gd name="connsiteX32" fmla="*/ 179549 w 609377"/>
              <a:gd name="connsiteY32" fmla="*/ 382390 h 492194"/>
              <a:gd name="connsiteX33" fmla="*/ 171278 w 609377"/>
              <a:gd name="connsiteY33" fmla="*/ 382273 h 492194"/>
              <a:gd name="connsiteX34" fmla="*/ 148989 w 609377"/>
              <a:gd name="connsiteY34" fmla="*/ 372084 h 492194"/>
              <a:gd name="connsiteX35" fmla="*/ 78483 w 609377"/>
              <a:gd name="connsiteY35" fmla="*/ 295250 h 492194"/>
              <a:gd name="connsiteX36" fmla="*/ 69978 w 609377"/>
              <a:gd name="connsiteY36" fmla="*/ 294899 h 492194"/>
              <a:gd name="connsiteX37" fmla="*/ 69626 w 609377"/>
              <a:gd name="connsiteY37" fmla="*/ 303390 h 492194"/>
              <a:gd name="connsiteX38" fmla="*/ 140073 w 609377"/>
              <a:gd name="connsiteY38" fmla="*/ 380165 h 492194"/>
              <a:gd name="connsiteX39" fmla="*/ 171044 w 609377"/>
              <a:gd name="connsiteY39" fmla="*/ 393751 h 492194"/>
              <a:gd name="connsiteX40" fmla="*/ 171337 w 609377"/>
              <a:gd name="connsiteY40" fmla="*/ 393751 h 492194"/>
              <a:gd name="connsiteX41" fmla="*/ 173625 w 609377"/>
              <a:gd name="connsiteY41" fmla="*/ 393927 h 492194"/>
              <a:gd name="connsiteX42" fmla="*/ 173625 w 609377"/>
              <a:gd name="connsiteY42" fmla="*/ 492194 h 492194"/>
              <a:gd name="connsiteX43" fmla="*/ 0 w 609377"/>
              <a:gd name="connsiteY43" fmla="*/ 492194 h 492194"/>
              <a:gd name="connsiteX44" fmla="*/ 0 w 609377"/>
              <a:gd name="connsiteY44" fmla="*/ 261577 h 492194"/>
              <a:gd name="connsiteX45" fmla="*/ 81768 w 609377"/>
              <a:gd name="connsiteY45" fmla="*/ 179942 h 492194"/>
              <a:gd name="connsiteX46" fmla="*/ 165194 w 609377"/>
              <a:gd name="connsiteY46" fmla="*/ 0 h 492194"/>
              <a:gd name="connsiteX47" fmla="*/ 255306 w 609377"/>
              <a:gd name="connsiteY47" fmla="*/ 89971 h 492194"/>
              <a:gd name="connsiteX48" fmla="*/ 165194 w 609377"/>
              <a:gd name="connsiteY48" fmla="*/ 179942 h 492194"/>
              <a:gd name="connsiteX49" fmla="*/ 75082 w 609377"/>
              <a:gd name="connsiteY49" fmla="*/ 89971 h 492194"/>
              <a:gd name="connsiteX50" fmla="*/ 165194 w 609377"/>
              <a:gd name="connsiteY50" fmla="*/ 0 h 49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377" h="492194">
                <a:moveTo>
                  <a:pt x="199013" y="435742"/>
                </a:moveTo>
                <a:lnTo>
                  <a:pt x="414600" y="435742"/>
                </a:lnTo>
                <a:lnTo>
                  <a:pt x="518491" y="435742"/>
                </a:lnTo>
                <a:lnTo>
                  <a:pt x="572285" y="435742"/>
                </a:lnTo>
                <a:lnTo>
                  <a:pt x="572285" y="478222"/>
                </a:lnTo>
                <a:lnTo>
                  <a:pt x="518491" y="478222"/>
                </a:lnTo>
                <a:lnTo>
                  <a:pt x="414600" y="478222"/>
                </a:lnTo>
                <a:lnTo>
                  <a:pt x="199013" y="478222"/>
                </a:lnTo>
                <a:cubicBezTo>
                  <a:pt x="190038" y="478222"/>
                  <a:pt x="182764" y="470966"/>
                  <a:pt x="182764" y="461956"/>
                </a:cubicBezTo>
                <a:lnTo>
                  <a:pt x="182764" y="452008"/>
                </a:lnTo>
                <a:cubicBezTo>
                  <a:pt x="182764" y="443056"/>
                  <a:pt x="190038" y="435742"/>
                  <a:pt x="199013" y="435742"/>
                </a:cubicBezTo>
                <a:close/>
                <a:moveTo>
                  <a:pt x="598532" y="183306"/>
                </a:moveTo>
                <a:cubicBezTo>
                  <a:pt x="606921" y="186234"/>
                  <a:pt x="611379" y="195311"/>
                  <a:pt x="608505" y="203745"/>
                </a:cubicBezTo>
                <a:lnTo>
                  <a:pt x="536759" y="412878"/>
                </a:lnTo>
                <a:cubicBezTo>
                  <a:pt x="536173" y="414518"/>
                  <a:pt x="535352" y="416041"/>
                  <a:pt x="534354" y="417329"/>
                </a:cubicBezTo>
                <a:cubicBezTo>
                  <a:pt x="531480" y="421487"/>
                  <a:pt x="526611" y="424240"/>
                  <a:pt x="521155" y="424240"/>
                </a:cubicBezTo>
                <a:lnTo>
                  <a:pt x="265794" y="424240"/>
                </a:lnTo>
                <a:cubicBezTo>
                  <a:pt x="256877" y="424240"/>
                  <a:pt x="249661" y="417037"/>
                  <a:pt x="249661" y="408193"/>
                </a:cubicBezTo>
                <a:cubicBezTo>
                  <a:pt x="249661" y="399292"/>
                  <a:pt x="256877" y="392147"/>
                  <a:pt x="265794" y="392147"/>
                </a:cubicBezTo>
                <a:lnTo>
                  <a:pt x="509892" y="392147"/>
                </a:lnTo>
                <a:lnTo>
                  <a:pt x="578058" y="193320"/>
                </a:lnTo>
                <a:cubicBezTo>
                  <a:pt x="580933" y="184945"/>
                  <a:pt x="590084" y="180436"/>
                  <a:pt x="598532" y="183306"/>
                </a:cubicBezTo>
                <a:close/>
                <a:moveTo>
                  <a:pt x="81768" y="179942"/>
                </a:moveTo>
                <a:lnTo>
                  <a:pt x="81885" y="180118"/>
                </a:lnTo>
                <a:cubicBezTo>
                  <a:pt x="83527" y="180001"/>
                  <a:pt x="85111" y="179942"/>
                  <a:pt x="86754" y="179942"/>
                </a:cubicBezTo>
                <a:cubicBezTo>
                  <a:pt x="134618" y="179942"/>
                  <a:pt x="173449" y="218710"/>
                  <a:pt x="173449" y="266555"/>
                </a:cubicBezTo>
                <a:lnTo>
                  <a:pt x="173625" y="286583"/>
                </a:lnTo>
                <a:lnTo>
                  <a:pt x="173625" y="310476"/>
                </a:lnTo>
                <a:lnTo>
                  <a:pt x="178552" y="310476"/>
                </a:lnTo>
                <a:lnTo>
                  <a:pt x="384966" y="310594"/>
                </a:lnTo>
                <a:cubicBezTo>
                  <a:pt x="404793" y="310594"/>
                  <a:pt x="420923" y="326698"/>
                  <a:pt x="420923" y="346492"/>
                </a:cubicBezTo>
                <a:cubicBezTo>
                  <a:pt x="420923" y="366286"/>
                  <a:pt x="404793" y="382390"/>
                  <a:pt x="384966" y="382390"/>
                </a:cubicBezTo>
                <a:lnTo>
                  <a:pt x="179549" y="382390"/>
                </a:lnTo>
                <a:cubicBezTo>
                  <a:pt x="179549" y="382390"/>
                  <a:pt x="171865" y="382273"/>
                  <a:pt x="171278" y="382273"/>
                </a:cubicBezTo>
                <a:cubicBezTo>
                  <a:pt x="162773" y="382098"/>
                  <a:pt x="154678" y="378291"/>
                  <a:pt x="148989" y="372084"/>
                </a:cubicBezTo>
                <a:lnTo>
                  <a:pt x="78483" y="295250"/>
                </a:lnTo>
                <a:cubicBezTo>
                  <a:pt x="76254" y="292791"/>
                  <a:pt x="72441" y="292674"/>
                  <a:pt x="69978" y="294899"/>
                </a:cubicBezTo>
                <a:cubicBezTo>
                  <a:pt x="67514" y="297124"/>
                  <a:pt x="67397" y="300931"/>
                  <a:pt x="69626" y="303390"/>
                </a:cubicBezTo>
                <a:lnTo>
                  <a:pt x="140073" y="380165"/>
                </a:lnTo>
                <a:cubicBezTo>
                  <a:pt x="148050" y="388832"/>
                  <a:pt x="159312" y="393751"/>
                  <a:pt x="171044" y="393751"/>
                </a:cubicBezTo>
                <a:cubicBezTo>
                  <a:pt x="171161" y="393751"/>
                  <a:pt x="171161" y="393751"/>
                  <a:pt x="171337" y="393751"/>
                </a:cubicBezTo>
                <a:lnTo>
                  <a:pt x="173625" y="393927"/>
                </a:lnTo>
                <a:lnTo>
                  <a:pt x="173625" y="492194"/>
                </a:lnTo>
                <a:lnTo>
                  <a:pt x="0" y="492194"/>
                </a:lnTo>
                <a:lnTo>
                  <a:pt x="0" y="261577"/>
                </a:lnTo>
                <a:cubicBezTo>
                  <a:pt x="0" y="216485"/>
                  <a:pt x="36602" y="179942"/>
                  <a:pt x="81768" y="179942"/>
                </a:cubicBezTo>
                <a:close/>
                <a:moveTo>
                  <a:pt x="165194" y="0"/>
                </a:moveTo>
                <a:cubicBezTo>
                  <a:pt x="214961" y="0"/>
                  <a:pt x="255306" y="40281"/>
                  <a:pt x="255306" y="89971"/>
                </a:cubicBezTo>
                <a:cubicBezTo>
                  <a:pt x="255306" y="139661"/>
                  <a:pt x="214961" y="179942"/>
                  <a:pt x="165194" y="179942"/>
                </a:cubicBezTo>
                <a:cubicBezTo>
                  <a:pt x="115427" y="179942"/>
                  <a:pt x="75082" y="139661"/>
                  <a:pt x="75082" y="89971"/>
                </a:cubicBezTo>
                <a:cubicBezTo>
                  <a:pt x="75082" y="40281"/>
                  <a:pt x="115427" y="0"/>
                  <a:pt x="165194" y="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61" name="文本框 60"/>
          <p:cNvSpPr txBox="1"/>
          <p:nvPr/>
        </p:nvSpPr>
        <p:spPr>
          <a:xfrm>
            <a:off x="689909" y="4491910"/>
            <a:ext cx="1969450" cy="43200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开发机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器人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cxnSp>
        <p:nvCxnSpPr>
          <p:cNvPr id="62" name="直接箭头连接符 61"/>
          <p:cNvCxnSpPr/>
          <p:nvPr/>
        </p:nvCxnSpPr>
        <p:spPr>
          <a:xfrm flipV="1">
            <a:off x="1693596" y="3601391"/>
            <a:ext cx="0" cy="612000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本框 62"/>
          <p:cNvSpPr txBox="1"/>
          <p:nvPr/>
        </p:nvSpPr>
        <p:spPr>
          <a:xfrm>
            <a:off x="282298" y="4758766"/>
            <a:ext cx="3416780" cy="2919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楷体"/>
                <a:cs typeface="+mn-cs"/>
              </a:rPr>
              <a:t>用于开发、调式机器人，发布流程代码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64" name="man-working-on-a-laptop-from-side-view_49728"/>
          <p:cNvSpPr>
            <a:spLocks noChangeAspect="1"/>
          </p:cNvSpPr>
          <p:nvPr/>
        </p:nvSpPr>
        <p:spPr bwMode="auto">
          <a:xfrm>
            <a:off x="1567309" y="4145448"/>
            <a:ext cx="354636" cy="286439"/>
          </a:xfrm>
          <a:custGeom>
            <a:avLst/>
            <a:gdLst>
              <a:gd name="connsiteX0" fmla="*/ 199013 w 609377"/>
              <a:gd name="connsiteY0" fmla="*/ 435742 h 492194"/>
              <a:gd name="connsiteX1" fmla="*/ 414600 w 609377"/>
              <a:gd name="connsiteY1" fmla="*/ 435742 h 492194"/>
              <a:gd name="connsiteX2" fmla="*/ 518491 w 609377"/>
              <a:gd name="connsiteY2" fmla="*/ 435742 h 492194"/>
              <a:gd name="connsiteX3" fmla="*/ 572285 w 609377"/>
              <a:gd name="connsiteY3" fmla="*/ 435742 h 492194"/>
              <a:gd name="connsiteX4" fmla="*/ 572285 w 609377"/>
              <a:gd name="connsiteY4" fmla="*/ 478222 h 492194"/>
              <a:gd name="connsiteX5" fmla="*/ 518491 w 609377"/>
              <a:gd name="connsiteY5" fmla="*/ 478222 h 492194"/>
              <a:gd name="connsiteX6" fmla="*/ 414600 w 609377"/>
              <a:gd name="connsiteY6" fmla="*/ 478222 h 492194"/>
              <a:gd name="connsiteX7" fmla="*/ 199013 w 609377"/>
              <a:gd name="connsiteY7" fmla="*/ 478222 h 492194"/>
              <a:gd name="connsiteX8" fmla="*/ 182764 w 609377"/>
              <a:gd name="connsiteY8" fmla="*/ 461956 h 492194"/>
              <a:gd name="connsiteX9" fmla="*/ 182764 w 609377"/>
              <a:gd name="connsiteY9" fmla="*/ 452008 h 492194"/>
              <a:gd name="connsiteX10" fmla="*/ 199013 w 609377"/>
              <a:gd name="connsiteY10" fmla="*/ 435742 h 492194"/>
              <a:gd name="connsiteX11" fmla="*/ 598532 w 609377"/>
              <a:gd name="connsiteY11" fmla="*/ 183306 h 492194"/>
              <a:gd name="connsiteX12" fmla="*/ 608505 w 609377"/>
              <a:gd name="connsiteY12" fmla="*/ 203745 h 492194"/>
              <a:gd name="connsiteX13" fmla="*/ 536759 w 609377"/>
              <a:gd name="connsiteY13" fmla="*/ 412878 h 492194"/>
              <a:gd name="connsiteX14" fmla="*/ 534354 w 609377"/>
              <a:gd name="connsiteY14" fmla="*/ 417329 h 492194"/>
              <a:gd name="connsiteX15" fmla="*/ 521155 w 609377"/>
              <a:gd name="connsiteY15" fmla="*/ 424240 h 492194"/>
              <a:gd name="connsiteX16" fmla="*/ 265794 w 609377"/>
              <a:gd name="connsiteY16" fmla="*/ 424240 h 492194"/>
              <a:gd name="connsiteX17" fmla="*/ 249661 w 609377"/>
              <a:gd name="connsiteY17" fmla="*/ 408193 h 492194"/>
              <a:gd name="connsiteX18" fmla="*/ 265794 w 609377"/>
              <a:gd name="connsiteY18" fmla="*/ 392147 h 492194"/>
              <a:gd name="connsiteX19" fmla="*/ 509892 w 609377"/>
              <a:gd name="connsiteY19" fmla="*/ 392147 h 492194"/>
              <a:gd name="connsiteX20" fmla="*/ 578058 w 609377"/>
              <a:gd name="connsiteY20" fmla="*/ 193320 h 492194"/>
              <a:gd name="connsiteX21" fmla="*/ 598532 w 609377"/>
              <a:gd name="connsiteY21" fmla="*/ 183306 h 492194"/>
              <a:gd name="connsiteX22" fmla="*/ 81768 w 609377"/>
              <a:gd name="connsiteY22" fmla="*/ 179942 h 492194"/>
              <a:gd name="connsiteX23" fmla="*/ 81885 w 609377"/>
              <a:gd name="connsiteY23" fmla="*/ 180118 h 492194"/>
              <a:gd name="connsiteX24" fmla="*/ 86754 w 609377"/>
              <a:gd name="connsiteY24" fmla="*/ 179942 h 492194"/>
              <a:gd name="connsiteX25" fmla="*/ 173449 w 609377"/>
              <a:gd name="connsiteY25" fmla="*/ 266555 h 492194"/>
              <a:gd name="connsiteX26" fmla="*/ 173625 w 609377"/>
              <a:gd name="connsiteY26" fmla="*/ 286583 h 492194"/>
              <a:gd name="connsiteX27" fmla="*/ 173625 w 609377"/>
              <a:gd name="connsiteY27" fmla="*/ 310476 h 492194"/>
              <a:gd name="connsiteX28" fmla="*/ 178552 w 609377"/>
              <a:gd name="connsiteY28" fmla="*/ 310476 h 492194"/>
              <a:gd name="connsiteX29" fmla="*/ 384966 w 609377"/>
              <a:gd name="connsiteY29" fmla="*/ 310594 h 492194"/>
              <a:gd name="connsiteX30" fmla="*/ 420923 w 609377"/>
              <a:gd name="connsiteY30" fmla="*/ 346492 h 492194"/>
              <a:gd name="connsiteX31" fmla="*/ 384966 w 609377"/>
              <a:gd name="connsiteY31" fmla="*/ 382390 h 492194"/>
              <a:gd name="connsiteX32" fmla="*/ 179549 w 609377"/>
              <a:gd name="connsiteY32" fmla="*/ 382390 h 492194"/>
              <a:gd name="connsiteX33" fmla="*/ 171278 w 609377"/>
              <a:gd name="connsiteY33" fmla="*/ 382273 h 492194"/>
              <a:gd name="connsiteX34" fmla="*/ 148989 w 609377"/>
              <a:gd name="connsiteY34" fmla="*/ 372084 h 492194"/>
              <a:gd name="connsiteX35" fmla="*/ 78483 w 609377"/>
              <a:gd name="connsiteY35" fmla="*/ 295250 h 492194"/>
              <a:gd name="connsiteX36" fmla="*/ 69978 w 609377"/>
              <a:gd name="connsiteY36" fmla="*/ 294899 h 492194"/>
              <a:gd name="connsiteX37" fmla="*/ 69626 w 609377"/>
              <a:gd name="connsiteY37" fmla="*/ 303390 h 492194"/>
              <a:gd name="connsiteX38" fmla="*/ 140073 w 609377"/>
              <a:gd name="connsiteY38" fmla="*/ 380165 h 492194"/>
              <a:gd name="connsiteX39" fmla="*/ 171044 w 609377"/>
              <a:gd name="connsiteY39" fmla="*/ 393751 h 492194"/>
              <a:gd name="connsiteX40" fmla="*/ 171337 w 609377"/>
              <a:gd name="connsiteY40" fmla="*/ 393751 h 492194"/>
              <a:gd name="connsiteX41" fmla="*/ 173625 w 609377"/>
              <a:gd name="connsiteY41" fmla="*/ 393927 h 492194"/>
              <a:gd name="connsiteX42" fmla="*/ 173625 w 609377"/>
              <a:gd name="connsiteY42" fmla="*/ 492194 h 492194"/>
              <a:gd name="connsiteX43" fmla="*/ 0 w 609377"/>
              <a:gd name="connsiteY43" fmla="*/ 492194 h 492194"/>
              <a:gd name="connsiteX44" fmla="*/ 0 w 609377"/>
              <a:gd name="connsiteY44" fmla="*/ 261577 h 492194"/>
              <a:gd name="connsiteX45" fmla="*/ 81768 w 609377"/>
              <a:gd name="connsiteY45" fmla="*/ 179942 h 492194"/>
              <a:gd name="connsiteX46" fmla="*/ 165194 w 609377"/>
              <a:gd name="connsiteY46" fmla="*/ 0 h 492194"/>
              <a:gd name="connsiteX47" fmla="*/ 255306 w 609377"/>
              <a:gd name="connsiteY47" fmla="*/ 89971 h 492194"/>
              <a:gd name="connsiteX48" fmla="*/ 165194 w 609377"/>
              <a:gd name="connsiteY48" fmla="*/ 179942 h 492194"/>
              <a:gd name="connsiteX49" fmla="*/ 75082 w 609377"/>
              <a:gd name="connsiteY49" fmla="*/ 89971 h 492194"/>
              <a:gd name="connsiteX50" fmla="*/ 165194 w 609377"/>
              <a:gd name="connsiteY50" fmla="*/ 0 h 49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377" h="492194">
                <a:moveTo>
                  <a:pt x="199013" y="435742"/>
                </a:moveTo>
                <a:lnTo>
                  <a:pt x="414600" y="435742"/>
                </a:lnTo>
                <a:lnTo>
                  <a:pt x="518491" y="435742"/>
                </a:lnTo>
                <a:lnTo>
                  <a:pt x="572285" y="435742"/>
                </a:lnTo>
                <a:lnTo>
                  <a:pt x="572285" y="478222"/>
                </a:lnTo>
                <a:lnTo>
                  <a:pt x="518491" y="478222"/>
                </a:lnTo>
                <a:lnTo>
                  <a:pt x="414600" y="478222"/>
                </a:lnTo>
                <a:lnTo>
                  <a:pt x="199013" y="478222"/>
                </a:lnTo>
                <a:cubicBezTo>
                  <a:pt x="190038" y="478222"/>
                  <a:pt x="182764" y="470966"/>
                  <a:pt x="182764" y="461956"/>
                </a:cubicBezTo>
                <a:lnTo>
                  <a:pt x="182764" y="452008"/>
                </a:lnTo>
                <a:cubicBezTo>
                  <a:pt x="182764" y="443056"/>
                  <a:pt x="190038" y="435742"/>
                  <a:pt x="199013" y="435742"/>
                </a:cubicBezTo>
                <a:close/>
                <a:moveTo>
                  <a:pt x="598532" y="183306"/>
                </a:moveTo>
                <a:cubicBezTo>
                  <a:pt x="606921" y="186234"/>
                  <a:pt x="611379" y="195311"/>
                  <a:pt x="608505" y="203745"/>
                </a:cubicBezTo>
                <a:lnTo>
                  <a:pt x="536759" y="412878"/>
                </a:lnTo>
                <a:cubicBezTo>
                  <a:pt x="536173" y="414518"/>
                  <a:pt x="535352" y="416041"/>
                  <a:pt x="534354" y="417329"/>
                </a:cubicBezTo>
                <a:cubicBezTo>
                  <a:pt x="531480" y="421487"/>
                  <a:pt x="526611" y="424240"/>
                  <a:pt x="521155" y="424240"/>
                </a:cubicBezTo>
                <a:lnTo>
                  <a:pt x="265794" y="424240"/>
                </a:lnTo>
                <a:cubicBezTo>
                  <a:pt x="256877" y="424240"/>
                  <a:pt x="249661" y="417037"/>
                  <a:pt x="249661" y="408193"/>
                </a:cubicBezTo>
                <a:cubicBezTo>
                  <a:pt x="249661" y="399292"/>
                  <a:pt x="256877" y="392147"/>
                  <a:pt x="265794" y="392147"/>
                </a:cubicBezTo>
                <a:lnTo>
                  <a:pt x="509892" y="392147"/>
                </a:lnTo>
                <a:lnTo>
                  <a:pt x="578058" y="193320"/>
                </a:lnTo>
                <a:cubicBezTo>
                  <a:pt x="580933" y="184945"/>
                  <a:pt x="590084" y="180436"/>
                  <a:pt x="598532" y="183306"/>
                </a:cubicBezTo>
                <a:close/>
                <a:moveTo>
                  <a:pt x="81768" y="179942"/>
                </a:moveTo>
                <a:lnTo>
                  <a:pt x="81885" y="180118"/>
                </a:lnTo>
                <a:cubicBezTo>
                  <a:pt x="83527" y="180001"/>
                  <a:pt x="85111" y="179942"/>
                  <a:pt x="86754" y="179942"/>
                </a:cubicBezTo>
                <a:cubicBezTo>
                  <a:pt x="134618" y="179942"/>
                  <a:pt x="173449" y="218710"/>
                  <a:pt x="173449" y="266555"/>
                </a:cubicBezTo>
                <a:lnTo>
                  <a:pt x="173625" y="286583"/>
                </a:lnTo>
                <a:lnTo>
                  <a:pt x="173625" y="310476"/>
                </a:lnTo>
                <a:lnTo>
                  <a:pt x="178552" y="310476"/>
                </a:lnTo>
                <a:lnTo>
                  <a:pt x="384966" y="310594"/>
                </a:lnTo>
                <a:cubicBezTo>
                  <a:pt x="404793" y="310594"/>
                  <a:pt x="420923" y="326698"/>
                  <a:pt x="420923" y="346492"/>
                </a:cubicBezTo>
                <a:cubicBezTo>
                  <a:pt x="420923" y="366286"/>
                  <a:pt x="404793" y="382390"/>
                  <a:pt x="384966" y="382390"/>
                </a:cubicBezTo>
                <a:lnTo>
                  <a:pt x="179549" y="382390"/>
                </a:lnTo>
                <a:cubicBezTo>
                  <a:pt x="179549" y="382390"/>
                  <a:pt x="171865" y="382273"/>
                  <a:pt x="171278" y="382273"/>
                </a:cubicBezTo>
                <a:cubicBezTo>
                  <a:pt x="162773" y="382098"/>
                  <a:pt x="154678" y="378291"/>
                  <a:pt x="148989" y="372084"/>
                </a:cubicBezTo>
                <a:lnTo>
                  <a:pt x="78483" y="295250"/>
                </a:lnTo>
                <a:cubicBezTo>
                  <a:pt x="76254" y="292791"/>
                  <a:pt x="72441" y="292674"/>
                  <a:pt x="69978" y="294899"/>
                </a:cubicBezTo>
                <a:cubicBezTo>
                  <a:pt x="67514" y="297124"/>
                  <a:pt x="67397" y="300931"/>
                  <a:pt x="69626" y="303390"/>
                </a:cubicBezTo>
                <a:lnTo>
                  <a:pt x="140073" y="380165"/>
                </a:lnTo>
                <a:cubicBezTo>
                  <a:pt x="148050" y="388832"/>
                  <a:pt x="159312" y="393751"/>
                  <a:pt x="171044" y="393751"/>
                </a:cubicBezTo>
                <a:cubicBezTo>
                  <a:pt x="171161" y="393751"/>
                  <a:pt x="171161" y="393751"/>
                  <a:pt x="171337" y="393751"/>
                </a:cubicBezTo>
                <a:lnTo>
                  <a:pt x="173625" y="393927"/>
                </a:lnTo>
                <a:lnTo>
                  <a:pt x="173625" y="492194"/>
                </a:lnTo>
                <a:lnTo>
                  <a:pt x="0" y="492194"/>
                </a:lnTo>
                <a:lnTo>
                  <a:pt x="0" y="261577"/>
                </a:lnTo>
                <a:cubicBezTo>
                  <a:pt x="0" y="216485"/>
                  <a:pt x="36602" y="179942"/>
                  <a:pt x="81768" y="179942"/>
                </a:cubicBezTo>
                <a:close/>
                <a:moveTo>
                  <a:pt x="165194" y="0"/>
                </a:moveTo>
                <a:cubicBezTo>
                  <a:pt x="214961" y="0"/>
                  <a:pt x="255306" y="40281"/>
                  <a:pt x="255306" y="89971"/>
                </a:cubicBezTo>
                <a:cubicBezTo>
                  <a:pt x="255306" y="139661"/>
                  <a:pt x="214961" y="179942"/>
                  <a:pt x="165194" y="179942"/>
                </a:cubicBezTo>
                <a:cubicBezTo>
                  <a:pt x="115427" y="179942"/>
                  <a:pt x="75082" y="139661"/>
                  <a:pt x="75082" y="89971"/>
                </a:cubicBezTo>
                <a:cubicBezTo>
                  <a:pt x="75082" y="40281"/>
                  <a:pt x="115427" y="0"/>
                  <a:pt x="165194" y="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65" name="man-working-on-a-laptop-from-side-view_49728"/>
          <p:cNvSpPr>
            <a:spLocks noChangeAspect="1"/>
          </p:cNvSpPr>
          <p:nvPr/>
        </p:nvSpPr>
        <p:spPr bwMode="auto">
          <a:xfrm>
            <a:off x="2172136" y="4145448"/>
            <a:ext cx="354636" cy="286439"/>
          </a:xfrm>
          <a:custGeom>
            <a:avLst/>
            <a:gdLst>
              <a:gd name="connsiteX0" fmla="*/ 199013 w 609377"/>
              <a:gd name="connsiteY0" fmla="*/ 435742 h 492194"/>
              <a:gd name="connsiteX1" fmla="*/ 414600 w 609377"/>
              <a:gd name="connsiteY1" fmla="*/ 435742 h 492194"/>
              <a:gd name="connsiteX2" fmla="*/ 518491 w 609377"/>
              <a:gd name="connsiteY2" fmla="*/ 435742 h 492194"/>
              <a:gd name="connsiteX3" fmla="*/ 572285 w 609377"/>
              <a:gd name="connsiteY3" fmla="*/ 435742 h 492194"/>
              <a:gd name="connsiteX4" fmla="*/ 572285 w 609377"/>
              <a:gd name="connsiteY4" fmla="*/ 478222 h 492194"/>
              <a:gd name="connsiteX5" fmla="*/ 518491 w 609377"/>
              <a:gd name="connsiteY5" fmla="*/ 478222 h 492194"/>
              <a:gd name="connsiteX6" fmla="*/ 414600 w 609377"/>
              <a:gd name="connsiteY6" fmla="*/ 478222 h 492194"/>
              <a:gd name="connsiteX7" fmla="*/ 199013 w 609377"/>
              <a:gd name="connsiteY7" fmla="*/ 478222 h 492194"/>
              <a:gd name="connsiteX8" fmla="*/ 182764 w 609377"/>
              <a:gd name="connsiteY8" fmla="*/ 461956 h 492194"/>
              <a:gd name="connsiteX9" fmla="*/ 182764 w 609377"/>
              <a:gd name="connsiteY9" fmla="*/ 452008 h 492194"/>
              <a:gd name="connsiteX10" fmla="*/ 199013 w 609377"/>
              <a:gd name="connsiteY10" fmla="*/ 435742 h 492194"/>
              <a:gd name="connsiteX11" fmla="*/ 598532 w 609377"/>
              <a:gd name="connsiteY11" fmla="*/ 183306 h 492194"/>
              <a:gd name="connsiteX12" fmla="*/ 608505 w 609377"/>
              <a:gd name="connsiteY12" fmla="*/ 203745 h 492194"/>
              <a:gd name="connsiteX13" fmla="*/ 536759 w 609377"/>
              <a:gd name="connsiteY13" fmla="*/ 412878 h 492194"/>
              <a:gd name="connsiteX14" fmla="*/ 534354 w 609377"/>
              <a:gd name="connsiteY14" fmla="*/ 417329 h 492194"/>
              <a:gd name="connsiteX15" fmla="*/ 521155 w 609377"/>
              <a:gd name="connsiteY15" fmla="*/ 424240 h 492194"/>
              <a:gd name="connsiteX16" fmla="*/ 265794 w 609377"/>
              <a:gd name="connsiteY16" fmla="*/ 424240 h 492194"/>
              <a:gd name="connsiteX17" fmla="*/ 249661 w 609377"/>
              <a:gd name="connsiteY17" fmla="*/ 408193 h 492194"/>
              <a:gd name="connsiteX18" fmla="*/ 265794 w 609377"/>
              <a:gd name="connsiteY18" fmla="*/ 392147 h 492194"/>
              <a:gd name="connsiteX19" fmla="*/ 509892 w 609377"/>
              <a:gd name="connsiteY19" fmla="*/ 392147 h 492194"/>
              <a:gd name="connsiteX20" fmla="*/ 578058 w 609377"/>
              <a:gd name="connsiteY20" fmla="*/ 193320 h 492194"/>
              <a:gd name="connsiteX21" fmla="*/ 598532 w 609377"/>
              <a:gd name="connsiteY21" fmla="*/ 183306 h 492194"/>
              <a:gd name="connsiteX22" fmla="*/ 81768 w 609377"/>
              <a:gd name="connsiteY22" fmla="*/ 179942 h 492194"/>
              <a:gd name="connsiteX23" fmla="*/ 81885 w 609377"/>
              <a:gd name="connsiteY23" fmla="*/ 180118 h 492194"/>
              <a:gd name="connsiteX24" fmla="*/ 86754 w 609377"/>
              <a:gd name="connsiteY24" fmla="*/ 179942 h 492194"/>
              <a:gd name="connsiteX25" fmla="*/ 173449 w 609377"/>
              <a:gd name="connsiteY25" fmla="*/ 266555 h 492194"/>
              <a:gd name="connsiteX26" fmla="*/ 173625 w 609377"/>
              <a:gd name="connsiteY26" fmla="*/ 286583 h 492194"/>
              <a:gd name="connsiteX27" fmla="*/ 173625 w 609377"/>
              <a:gd name="connsiteY27" fmla="*/ 310476 h 492194"/>
              <a:gd name="connsiteX28" fmla="*/ 178552 w 609377"/>
              <a:gd name="connsiteY28" fmla="*/ 310476 h 492194"/>
              <a:gd name="connsiteX29" fmla="*/ 384966 w 609377"/>
              <a:gd name="connsiteY29" fmla="*/ 310594 h 492194"/>
              <a:gd name="connsiteX30" fmla="*/ 420923 w 609377"/>
              <a:gd name="connsiteY30" fmla="*/ 346492 h 492194"/>
              <a:gd name="connsiteX31" fmla="*/ 384966 w 609377"/>
              <a:gd name="connsiteY31" fmla="*/ 382390 h 492194"/>
              <a:gd name="connsiteX32" fmla="*/ 179549 w 609377"/>
              <a:gd name="connsiteY32" fmla="*/ 382390 h 492194"/>
              <a:gd name="connsiteX33" fmla="*/ 171278 w 609377"/>
              <a:gd name="connsiteY33" fmla="*/ 382273 h 492194"/>
              <a:gd name="connsiteX34" fmla="*/ 148989 w 609377"/>
              <a:gd name="connsiteY34" fmla="*/ 372084 h 492194"/>
              <a:gd name="connsiteX35" fmla="*/ 78483 w 609377"/>
              <a:gd name="connsiteY35" fmla="*/ 295250 h 492194"/>
              <a:gd name="connsiteX36" fmla="*/ 69978 w 609377"/>
              <a:gd name="connsiteY36" fmla="*/ 294899 h 492194"/>
              <a:gd name="connsiteX37" fmla="*/ 69626 w 609377"/>
              <a:gd name="connsiteY37" fmla="*/ 303390 h 492194"/>
              <a:gd name="connsiteX38" fmla="*/ 140073 w 609377"/>
              <a:gd name="connsiteY38" fmla="*/ 380165 h 492194"/>
              <a:gd name="connsiteX39" fmla="*/ 171044 w 609377"/>
              <a:gd name="connsiteY39" fmla="*/ 393751 h 492194"/>
              <a:gd name="connsiteX40" fmla="*/ 171337 w 609377"/>
              <a:gd name="connsiteY40" fmla="*/ 393751 h 492194"/>
              <a:gd name="connsiteX41" fmla="*/ 173625 w 609377"/>
              <a:gd name="connsiteY41" fmla="*/ 393927 h 492194"/>
              <a:gd name="connsiteX42" fmla="*/ 173625 w 609377"/>
              <a:gd name="connsiteY42" fmla="*/ 492194 h 492194"/>
              <a:gd name="connsiteX43" fmla="*/ 0 w 609377"/>
              <a:gd name="connsiteY43" fmla="*/ 492194 h 492194"/>
              <a:gd name="connsiteX44" fmla="*/ 0 w 609377"/>
              <a:gd name="connsiteY44" fmla="*/ 261577 h 492194"/>
              <a:gd name="connsiteX45" fmla="*/ 81768 w 609377"/>
              <a:gd name="connsiteY45" fmla="*/ 179942 h 492194"/>
              <a:gd name="connsiteX46" fmla="*/ 165194 w 609377"/>
              <a:gd name="connsiteY46" fmla="*/ 0 h 492194"/>
              <a:gd name="connsiteX47" fmla="*/ 255306 w 609377"/>
              <a:gd name="connsiteY47" fmla="*/ 89971 h 492194"/>
              <a:gd name="connsiteX48" fmla="*/ 165194 w 609377"/>
              <a:gd name="connsiteY48" fmla="*/ 179942 h 492194"/>
              <a:gd name="connsiteX49" fmla="*/ 75082 w 609377"/>
              <a:gd name="connsiteY49" fmla="*/ 89971 h 492194"/>
              <a:gd name="connsiteX50" fmla="*/ 165194 w 609377"/>
              <a:gd name="connsiteY50" fmla="*/ 0 h 49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609377" h="492194">
                <a:moveTo>
                  <a:pt x="199013" y="435742"/>
                </a:moveTo>
                <a:lnTo>
                  <a:pt x="414600" y="435742"/>
                </a:lnTo>
                <a:lnTo>
                  <a:pt x="518491" y="435742"/>
                </a:lnTo>
                <a:lnTo>
                  <a:pt x="572285" y="435742"/>
                </a:lnTo>
                <a:lnTo>
                  <a:pt x="572285" y="478222"/>
                </a:lnTo>
                <a:lnTo>
                  <a:pt x="518491" y="478222"/>
                </a:lnTo>
                <a:lnTo>
                  <a:pt x="414600" y="478222"/>
                </a:lnTo>
                <a:lnTo>
                  <a:pt x="199013" y="478222"/>
                </a:lnTo>
                <a:cubicBezTo>
                  <a:pt x="190038" y="478222"/>
                  <a:pt x="182764" y="470966"/>
                  <a:pt x="182764" y="461956"/>
                </a:cubicBezTo>
                <a:lnTo>
                  <a:pt x="182764" y="452008"/>
                </a:lnTo>
                <a:cubicBezTo>
                  <a:pt x="182764" y="443056"/>
                  <a:pt x="190038" y="435742"/>
                  <a:pt x="199013" y="435742"/>
                </a:cubicBezTo>
                <a:close/>
                <a:moveTo>
                  <a:pt x="598532" y="183306"/>
                </a:moveTo>
                <a:cubicBezTo>
                  <a:pt x="606921" y="186234"/>
                  <a:pt x="611379" y="195311"/>
                  <a:pt x="608505" y="203745"/>
                </a:cubicBezTo>
                <a:lnTo>
                  <a:pt x="536759" y="412878"/>
                </a:lnTo>
                <a:cubicBezTo>
                  <a:pt x="536173" y="414518"/>
                  <a:pt x="535352" y="416041"/>
                  <a:pt x="534354" y="417329"/>
                </a:cubicBezTo>
                <a:cubicBezTo>
                  <a:pt x="531480" y="421487"/>
                  <a:pt x="526611" y="424240"/>
                  <a:pt x="521155" y="424240"/>
                </a:cubicBezTo>
                <a:lnTo>
                  <a:pt x="265794" y="424240"/>
                </a:lnTo>
                <a:cubicBezTo>
                  <a:pt x="256877" y="424240"/>
                  <a:pt x="249661" y="417037"/>
                  <a:pt x="249661" y="408193"/>
                </a:cubicBezTo>
                <a:cubicBezTo>
                  <a:pt x="249661" y="399292"/>
                  <a:pt x="256877" y="392147"/>
                  <a:pt x="265794" y="392147"/>
                </a:cubicBezTo>
                <a:lnTo>
                  <a:pt x="509892" y="392147"/>
                </a:lnTo>
                <a:lnTo>
                  <a:pt x="578058" y="193320"/>
                </a:lnTo>
                <a:cubicBezTo>
                  <a:pt x="580933" y="184945"/>
                  <a:pt x="590084" y="180436"/>
                  <a:pt x="598532" y="183306"/>
                </a:cubicBezTo>
                <a:close/>
                <a:moveTo>
                  <a:pt x="81768" y="179942"/>
                </a:moveTo>
                <a:lnTo>
                  <a:pt x="81885" y="180118"/>
                </a:lnTo>
                <a:cubicBezTo>
                  <a:pt x="83527" y="180001"/>
                  <a:pt x="85111" y="179942"/>
                  <a:pt x="86754" y="179942"/>
                </a:cubicBezTo>
                <a:cubicBezTo>
                  <a:pt x="134618" y="179942"/>
                  <a:pt x="173449" y="218710"/>
                  <a:pt x="173449" y="266555"/>
                </a:cubicBezTo>
                <a:lnTo>
                  <a:pt x="173625" y="286583"/>
                </a:lnTo>
                <a:lnTo>
                  <a:pt x="173625" y="310476"/>
                </a:lnTo>
                <a:lnTo>
                  <a:pt x="178552" y="310476"/>
                </a:lnTo>
                <a:lnTo>
                  <a:pt x="384966" y="310594"/>
                </a:lnTo>
                <a:cubicBezTo>
                  <a:pt x="404793" y="310594"/>
                  <a:pt x="420923" y="326698"/>
                  <a:pt x="420923" y="346492"/>
                </a:cubicBezTo>
                <a:cubicBezTo>
                  <a:pt x="420923" y="366286"/>
                  <a:pt x="404793" y="382390"/>
                  <a:pt x="384966" y="382390"/>
                </a:cubicBezTo>
                <a:lnTo>
                  <a:pt x="179549" y="382390"/>
                </a:lnTo>
                <a:cubicBezTo>
                  <a:pt x="179549" y="382390"/>
                  <a:pt x="171865" y="382273"/>
                  <a:pt x="171278" y="382273"/>
                </a:cubicBezTo>
                <a:cubicBezTo>
                  <a:pt x="162773" y="382098"/>
                  <a:pt x="154678" y="378291"/>
                  <a:pt x="148989" y="372084"/>
                </a:cubicBezTo>
                <a:lnTo>
                  <a:pt x="78483" y="295250"/>
                </a:lnTo>
                <a:cubicBezTo>
                  <a:pt x="76254" y="292791"/>
                  <a:pt x="72441" y="292674"/>
                  <a:pt x="69978" y="294899"/>
                </a:cubicBezTo>
                <a:cubicBezTo>
                  <a:pt x="67514" y="297124"/>
                  <a:pt x="67397" y="300931"/>
                  <a:pt x="69626" y="303390"/>
                </a:cubicBezTo>
                <a:lnTo>
                  <a:pt x="140073" y="380165"/>
                </a:lnTo>
                <a:cubicBezTo>
                  <a:pt x="148050" y="388832"/>
                  <a:pt x="159312" y="393751"/>
                  <a:pt x="171044" y="393751"/>
                </a:cubicBezTo>
                <a:cubicBezTo>
                  <a:pt x="171161" y="393751"/>
                  <a:pt x="171161" y="393751"/>
                  <a:pt x="171337" y="393751"/>
                </a:cubicBezTo>
                <a:lnTo>
                  <a:pt x="173625" y="393927"/>
                </a:lnTo>
                <a:lnTo>
                  <a:pt x="173625" y="492194"/>
                </a:lnTo>
                <a:lnTo>
                  <a:pt x="0" y="492194"/>
                </a:lnTo>
                <a:lnTo>
                  <a:pt x="0" y="261577"/>
                </a:lnTo>
                <a:cubicBezTo>
                  <a:pt x="0" y="216485"/>
                  <a:pt x="36602" y="179942"/>
                  <a:pt x="81768" y="179942"/>
                </a:cubicBezTo>
                <a:close/>
                <a:moveTo>
                  <a:pt x="165194" y="0"/>
                </a:moveTo>
                <a:cubicBezTo>
                  <a:pt x="214961" y="0"/>
                  <a:pt x="255306" y="40281"/>
                  <a:pt x="255306" y="89971"/>
                </a:cubicBezTo>
                <a:cubicBezTo>
                  <a:pt x="255306" y="139661"/>
                  <a:pt x="214961" y="179942"/>
                  <a:pt x="165194" y="179942"/>
                </a:cubicBezTo>
                <a:cubicBezTo>
                  <a:pt x="115427" y="179942"/>
                  <a:pt x="75082" y="139661"/>
                  <a:pt x="75082" y="89971"/>
                </a:cubicBezTo>
                <a:cubicBezTo>
                  <a:pt x="75082" y="40281"/>
                  <a:pt x="115427" y="0"/>
                  <a:pt x="165194" y="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75" name="文本框 74"/>
          <p:cNvSpPr txBox="1"/>
          <p:nvPr/>
        </p:nvSpPr>
        <p:spPr>
          <a:xfrm>
            <a:off x="500112" y="3331420"/>
            <a:ext cx="2560742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楷体"/>
                <a:cs typeface="+mn-cs"/>
              </a:rPr>
              <a:t>用于监控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楷体"/>
                <a:cs typeface="+mn-cs"/>
              </a:rPr>
              <a:t>/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楷体"/>
                <a:cs typeface="+mn-cs"/>
              </a:rPr>
              <a:t>调度机器人执行任务</a:t>
            </a:r>
          </a:p>
        </p:txBody>
      </p:sp>
      <p:sp>
        <p:nvSpPr>
          <p:cNvPr id="76" name="文本框 75"/>
          <p:cNvSpPr txBox="1"/>
          <p:nvPr/>
        </p:nvSpPr>
        <p:spPr>
          <a:xfrm>
            <a:off x="248598" y="3043024"/>
            <a:ext cx="2812256" cy="43200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smtClean="0">
                <a:ln>
                  <a:noFill/>
                </a:ln>
                <a:solidFill>
                  <a:srgbClr val="E95504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RPA</a:t>
            </a: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E95504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数字管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E95504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理调度平台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E95504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cxnSp>
        <p:nvCxnSpPr>
          <p:cNvPr id="77" name="肘形连接符 76"/>
          <p:cNvCxnSpPr/>
          <p:nvPr/>
        </p:nvCxnSpPr>
        <p:spPr>
          <a:xfrm flipV="1">
            <a:off x="2779327" y="2490179"/>
            <a:ext cx="1185093" cy="76884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文本框 77"/>
          <p:cNvSpPr txBox="1"/>
          <p:nvPr/>
        </p:nvSpPr>
        <p:spPr>
          <a:xfrm>
            <a:off x="2883850" y="2654872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定时运行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79" name="rounded-cloud_20581"/>
          <p:cNvSpPr>
            <a:spLocks noChangeAspect="1"/>
          </p:cNvSpPr>
          <p:nvPr/>
        </p:nvSpPr>
        <p:spPr bwMode="auto">
          <a:xfrm rot="21309429">
            <a:off x="4117373" y="1740168"/>
            <a:ext cx="2685841" cy="1260903"/>
          </a:xfrm>
          <a:custGeom>
            <a:avLst/>
            <a:gdLst>
              <a:gd name="T0" fmla="*/ 372171 w 604011"/>
              <a:gd name="T1" fmla="*/ 372171 w 604011"/>
              <a:gd name="T2" fmla="*/ 372171 w 604011"/>
              <a:gd name="T3" fmla="*/ 372171 w 604011"/>
              <a:gd name="T4" fmla="*/ 372171 w 604011"/>
              <a:gd name="T5" fmla="*/ 372171 w 604011"/>
              <a:gd name="T6" fmla="*/ 372171 w 604011"/>
              <a:gd name="T7" fmla="*/ 372171 w 604011"/>
              <a:gd name="T8" fmla="*/ 372171 w 604011"/>
              <a:gd name="T9" fmla="*/ 372171 w 604011"/>
              <a:gd name="T10" fmla="*/ 372171 w 604011"/>
              <a:gd name="T11" fmla="*/ 372171 w 604011"/>
              <a:gd name="T12" fmla="*/ 372171 w 604011"/>
              <a:gd name="T13" fmla="*/ 372171 w 604011"/>
              <a:gd name="T14" fmla="*/ 372171 w 604011"/>
              <a:gd name="T15" fmla="*/ 372171 w 604011"/>
              <a:gd name="T16" fmla="*/ 372171 w 604011"/>
              <a:gd name="T17" fmla="*/ 372171 w 604011"/>
              <a:gd name="T18" fmla="*/ 372171 w 604011"/>
              <a:gd name="T19" fmla="*/ 372171 w 604011"/>
              <a:gd name="T20" fmla="*/ 372171 w 604011"/>
              <a:gd name="T21" fmla="*/ 372171 w 604011"/>
              <a:gd name="T22" fmla="*/ 372171 w 604011"/>
              <a:gd name="T23" fmla="*/ 372171 w 604011"/>
              <a:gd name="T24" fmla="*/ 372171 w 604011"/>
              <a:gd name="T25" fmla="*/ 372171 w 604011"/>
              <a:gd name="T26" fmla="*/ 372171 w 604011"/>
              <a:gd name="T27" fmla="*/ 372171 w 604011"/>
              <a:gd name="T28" fmla="*/ 372171 w 604011"/>
              <a:gd name="T29" fmla="*/ 37217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64" h="3461">
                <a:moveTo>
                  <a:pt x="2255" y="3461"/>
                </a:moveTo>
                <a:cubicBezTo>
                  <a:pt x="1907" y="3461"/>
                  <a:pt x="1571" y="3322"/>
                  <a:pt x="1324" y="3077"/>
                </a:cubicBezTo>
                <a:cubicBezTo>
                  <a:pt x="1241" y="3112"/>
                  <a:pt x="1151" y="3131"/>
                  <a:pt x="1061" y="3131"/>
                </a:cubicBezTo>
                <a:cubicBezTo>
                  <a:pt x="695" y="3131"/>
                  <a:pt x="398" y="2834"/>
                  <a:pt x="398" y="2468"/>
                </a:cubicBezTo>
                <a:cubicBezTo>
                  <a:pt x="398" y="2429"/>
                  <a:pt x="402" y="2389"/>
                  <a:pt x="409" y="2350"/>
                </a:cubicBezTo>
                <a:cubicBezTo>
                  <a:pt x="152" y="2159"/>
                  <a:pt x="0" y="1860"/>
                  <a:pt x="0" y="1539"/>
                </a:cubicBezTo>
                <a:cubicBezTo>
                  <a:pt x="0" y="1034"/>
                  <a:pt x="382" y="604"/>
                  <a:pt x="878" y="540"/>
                </a:cubicBezTo>
                <a:cubicBezTo>
                  <a:pt x="1002" y="215"/>
                  <a:pt x="1312" y="0"/>
                  <a:pt x="1665" y="0"/>
                </a:cubicBezTo>
                <a:cubicBezTo>
                  <a:pt x="1972" y="0"/>
                  <a:pt x="2254" y="168"/>
                  <a:pt x="2401" y="434"/>
                </a:cubicBezTo>
                <a:cubicBezTo>
                  <a:pt x="2507" y="397"/>
                  <a:pt x="2618" y="378"/>
                  <a:pt x="2732" y="378"/>
                </a:cubicBezTo>
                <a:cubicBezTo>
                  <a:pt x="3291" y="378"/>
                  <a:pt x="3746" y="833"/>
                  <a:pt x="3746" y="1393"/>
                </a:cubicBezTo>
                <a:cubicBezTo>
                  <a:pt x="3746" y="1416"/>
                  <a:pt x="3745" y="1440"/>
                  <a:pt x="3743" y="1465"/>
                </a:cubicBezTo>
                <a:cubicBezTo>
                  <a:pt x="3994" y="1563"/>
                  <a:pt x="4164" y="1808"/>
                  <a:pt x="4164" y="2082"/>
                </a:cubicBezTo>
                <a:cubicBezTo>
                  <a:pt x="4164" y="2470"/>
                  <a:pt x="3826" y="2781"/>
                  <a:pt x="3433" y="2741"/>
                </a:cubicBezTo>
                <a:cubicBezTo>
                  <a:pt x="3207" y="3180"/>
                  <a:pt x="2751" y="3461"/>
                  <a:pt x="2255" y="3461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prstDash val="dash"/>
          </a:ln>
        </p:spPr>
      </p:sp>
      <p:sp>
        <p:nvSpPr>
          <p:cNvPr id="80" name="laptop_32115"/>
          <p:cNvSpPr>
            <a:spLocks noChangeAspect="1"/>
          </p:cNvSpPr>
          <p:nvPr/>
        </p:nvSpPr>
        <p:spPr bwMode="auto">
          <a:xfrm>
            <a:off x="4712229" y="2081051"/>
            <a:ext cx="407350" cy="302808"/>
          </a:xfrm>
          <a:custGeom>
            <a:avLst/>
            <a:gdLst>
              <a:gd name="T0" fmla="*/ 6776 w 7355"/>
              <a:gd name="T1" fmla="*/ 0 h 5476"/>
              <a:gd name="T2" fmla="*/ 393 w 7355"/>
              <a:gd name="T3" fmla="*/ 0 h 5476"/>
              <a:gd name="T4" fmla="*/ 393 w 7355"/>
              <a:gd name="T5" fmla="*/ 4320 h 5476"/>
              <a:gd name="T6" fmla="*/ 6776 w 7355"/>
              <a:gd name="T7" fmla="*/ 4320 h 5476"/>
              <a:gd name="T8" fmla="*/ 6776 w 7355"/>
              <a:gd name="T9" fmla="*/ 0 h 5476"/>
              <a:gd name="T10" fmla="*/ 6776 w 7355"/>
              <a:gd name="T11" fmla="*/ 0 h 5476"/>
              <a:gd name="T12" fmla="*/ 6360 w 7355"/>
              <a:gd name="T13" fmla="*/ 3904 h 5476"/>
              <a:gd name="T14" fmla="*/ 809 w 7355"/>
              <a:gd name="T15" fmla="*/ 3904 h 5476"/>
              <a:gd name="T16" fmla="*/ 809 w 7355"/>
              <a:gd name="T17" fmla="*/ 416 h 5476"/>
              <a:gd name="T18" fmla="*/ 6360 w 7355"/>
              <a:gd name="T19" fmla="*/ 416 h 5476"/>
              <a:gd name="T20" fmla="*/ 6360 w 7355"/>
              <a:gd name="T21" fmla="*/ 3904 h 5476"/>
              <a:gd name="T22" fmla="*/ 0 w 7355"/>
              <a:gd name="T23" fmla="*/ 4556 h 5476"/>
              <a:gd name="T24" fmla="*/ 0 w 7355"/>
              <a:gd name="T25" fmla="*/ 5134 h 5476"/>
              <a:gd name="T26" fmla="*/ 7355 w 7355"/>
              <a:gd name="T27" fmla="*/ 5134 h 5476"/>
              <a:gd name="T28" fmla="*/ 7355 w 7355"/>
              <a:gd name="T29" fmla="*/ 4556 h 5476"/>
              <a:gd name="T30" fmla="*/ 0 w 7355"/>
              <a:gd name="T31" fmla="*/ 4556 h 5476"/>
              <a:gd name="T32" fmla="*/ 4504 w 7355"/>
              <a:gd name="T33" fmla="*/ 4839 h 5476"/>
              <a:gd name="T34" fmla="*/ 3012 w 7355"/>
              <a:gd name="T35" fmla="*/ 4839 h 5476"/>
              <a:gd name="T36" fmla="*/ 3012 w 7355"/>
              <a:gd name="T37" fmla="*/ 4666 h 5476"/>
              <a:gd name="T38" fmla="*/ 4504 w 7355"/>
              <a:gd name="T39" fmla="*/ 4666 h 5476"/>
              <a:gd name="T40" fmla="*/ 4504 w 7355"/>
              <a:gd name="T41" fmla="*/ 4839 h 5476"/>
              <a:gd name="T42" fmla="*/ 6013 w 7355"/>
              <a:gd name="T43" fmla="*/ 5030 h 5476"/>
              <a:gd name="T44" fmla="*/ 5874 w 7355"/>
              <a:gd name="T45" fmla="*/ 4891 h 5476"/>
              <a:gd name="T46" fmla="*/ 6013 w 7355"/>
              <a:gd name="T47" fmla="*/ 4752 h 5476"/>
              <a:gd name="T48" fmla="*/ 6152 w 7355"/>
              <a:gd name="T49" fmla="*/ 4891 h 5476"/>
              <a:gd name="T50" fmla="*/ 6013 w 7355"/>
              <a:gd name="T51" fmla="*/ 5030 h 5476"/>
              <a:gd name="T52" fmla="*/ 6614 w 7355"/>
              <a:gd name="T53" fmla="*/ 5030 h 5476"/>
              <a:gd name="T54" fmla="*/ 6476 w 7355"/>
              <a:gd name="T55" fmla="*/ 4891 h 5476"/>
              <a:gd name="T56" fmla="*/ 6614 w 7355"/>
              <a:gd name="T57" fmla="*/ 4752 h 5476"/>
              <a:gd name="T58" fmla="*/ 6753 w 7355"/>
              <a:gd name="T59" fmla="*/ 4891 h 5476"/>
              <a:gd name="T60" fmla="*/ 6614 w 7355"/>
              <a:gd name="T61" fmla="*/ 5030 h 5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355" h="5476">
                <a:moveTo>
                  <a:pt x="6776" y="0"/>
                </a:moveTo>
                <a:lnTo>
                  <a:pt x="393" y="0"/>
                </a:lnTo>
                <a:lnTo>
                  <a:pt x="393" y="4320"/>
                </a:lnTo>
                <a:lnTo>
                  <a:pt x="6776" y="4320"/>
                </a:lnTo>
                <a:lnTo>
                  <a:pt x="6776" y="0"/>
                </a:lnTo>
                <a:lnTo>
                  <a:pt x="6776" y="0"/>
                </a:lnTo>
                <a:close/>
                <a:moveTo>
                  <a:pt x="6360" y="3904"/>
                </a:moveTo>
                <a:lnTo>
                  <a:pt x="809" y="3904"/>
                </a:lnTo>
                <a:lnTo>
                  <a:pt x="809" y="416"/>
                </a:lnTo>
                <a:lnTo>
                  <a:pt x="6360" y="416"/>
                </a:lnTo>
                <a:lnTo>
                  <a:pt x="6360" y="3904"/>
                </a:lnTo>
                <a:close/>
                <a:moveTo>
                  <a:pt x="0" y="4556"/>
                </a:moveTo>
                <a:lnTo>
                  <a:pt x="0" y="5134"/>
                </a:lnTo>
                <a:cubicBezTo>
                  <a:pt x="1035" y="5476"/>
                  <a:pt x="7106" y="5290"/>
                  <a:pt x="7355" y="5134"/>
                </a:cubicBezTo>
                <a:lnTo>
                  <a:pt x="7355" y="4556"/>
                </a:lnTo>
                <a:lnTo>
                  <a:pt x="0" y="4556"/>
                </a:lnTo>
                <a:close/>
                <a:moveTo>
                  <a:pt x="4504" y="4839"/>
                </a:moveTo>
                <a:lnTo>
                  <a:pt x="3012" y="4839"/>
                </a:lnTo>
                <a:lnTo>
                  <a:pt x="3012" y="4666"/>
                </a:lnTo>
                <a:lnTo>
                  <a:pt x="4504" y="4666"/>
                </a:lnTo>
                <a:lnTo>
                  <a:pt x="4504" y="4839"/>
                </a:lnTo>
                <a:close/>
                <a:moveTo>
                  <a:pt x="6013" y="5030"/>
                </a:moveTo>
                <a:cubicBezTo>
                  <a:pt x="5936" y="5030"/>
                  <a:pt x="5874" y="4968"/>
                  <a:pt x="5874" y="4891"/>
                </a:cubicBezTo>
                <a:cubicBezTo>
                  <a:pt x="5874" y="4815"/>
                  <a:pt x="5936" y="4752"/>
                  <a:pt x="6013" y="4752"/>
                </a:cubicBezTo>
                <a:cubicBezTo>
                  <a:pt x="6090" y="4752"/>
                  <a:pt x="6152" y="4815"/>
                  <a:pt x="6152" y="4891"/>
                </a:cubicBezTo>
                <a:cubicBezTo>
                  <a:pt x="6152" y="4968"/>
                  <a:pt x="6090" y="5030"/>
                  <a:pt x="6013" y="5030"/>
                </a:cubicBezTo>
                <a:close/>
                <a:moveTo>
                  <a:pt x="6614" y="5030"/>
                </a:moveTo>
                <a:cubicBezTo>
                  <a:pt x="6538" y="5030"/>
                  <a:pt x="6476" y="4968"/>
                  <a:pt x="6476" y="4891"/>
                </a:cubicBezTo>
                <a:cubicBezTo>
                  <a:pt x="6476" y="4815"/>
                  <a:pt x="6538" y="4752"/>
                  <a:pt x="6614" y="4752"/>
                </a:cubicBezTo>
                <a:cubicBezTo>
                  <a:pt x="6691" y="4752"/>
                  <a:pt x="6753" y="4815"/>
                  <a:pt x="6753" y="4891"/>
                </a:cubicBezTo>
                <a:cubicBezTo>
                  <a:pt x="6753" y="4968"/>
                  <a:pt x="6691" y="5030"/>
                  <a:pt x="6614" y="503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81" name="laptop_32115"/>
          <p:cNvSpPr>
            <a:spLocks noChangeAspect="1"/>
          </p:cNvSpPr>
          <p:nvPr/>
        </p:nvSpPr>
        <p:spPr bwMode="auto">
          <a:xfrm>
            <a:off x="5242316" y="2081051"/>
            <a:ext cx="407350" cy="302808"/>
          </a:xfrm>
          <a:custGeom>
            <a:avLst/>
            <a:gdLst>
              <a:gd name="T0" fmla="*/ 6776 w 7355"/>
              <a:gd name="T1" fmla="*/ 0 h 5476"/>
              <a:gd name="T2" fmla="*/ 393 w 7355"/>
              <a:gd name="T3" fmla="*/ 0 h 5476"/>
              <a:gd name="T4" fmla="*/ 393 w 7355"/>
              <a:gd name="T5" fmla="*/ 4320 h 5476"/>
              <a:gd name="T6" fmla="*/ 6776 w 7355"/>
              <a:gd name="T7" fmla="*/ 4320 h 5476"/>
              <a:gd name="T8" fmla="*/ 6776 w 7355"/>
              <a:gd name="T9" fmla="*/ 0 h 5476"/>
              <a:gd name="T10" fmla="*/ 6776 w 7355"/>
              <a:gd name="T11" fmla="*/ 0 h 5476"/>
              <a:gd name="T12" fmla="*/ 6360 w 7355"/>
              <a:gd name="T13" fmla="*/ 3904 h 5476"/>
              <a:gd name="T14" fmla="*/ 809 w 7355"/>
              <a:gd name="T15" fmla="*/ 3904 h 5476"/>
              <a:gd name="T16" fmla="*/ 809 w 7355"/>
              <a:gd name="T17" fmla="*/ 416 h 5476"/>
              <a:gd name="T18" fmla="*/ 6360 w 7355"/>
              <a:gd name="T19" fmla="*/ 416 h 5476"/>
              <a:gd name="T20" fmla="*/ 6360 w 7355"/>
              <a:gd name="T21" fmla="*/ 3904 h 5476"/>
              <a:gd name="T22" fmla="*/ 0 w 7355"/>
              <a:gd name="T23" fmla="*/ 4556 h 5476"/>
              <a:gd name="T24" fmla="*/ 0 w 7355"/>
              <a:gd name="T25" fmla="*/ 5134 h 5476"/>
              <a:gd name="T26" fmla="*/ 7355 w 7355"/>
              <a:gd name="T27" fmla="*/ 5134 h 5476"/>
              <a:gd name="T28" fmla="*/ 7355 w 7355"/>
              <a:gd name="T29" fmla="*/ 4556 h 5476"/>
              <a:gd name="T30" fmla="*/ 0 w 7355"/>
              <a:gd name="T31" fmla="*/ 4556 h 5476"/>
              <a:gd name="T32" fmla="*/ 4504 w 7355"/>
              <a:gd name="T33" fmla="*/ 4839 h 5476"/>
              <a:gd name="T34" fmla="*/ 3012 w 7355"/>
              <a:gd name="T35" fmla="*/ 4839 h 5476"/>
              <a:gd name="T36" fmla="*/ 3012 w 7355"/>
              <a:gd name="T37" fmla="*/ 4666 h 5476"/>
              <a:gd name="T38" fmla="*/ 4504 w 7355"/>
              <a:gd name="T39" fmla="*/ 4666 h 5476"/>
              <a:gd name="T40" fmla="*/ 4504 w 7355"/>
              <a:gd name="T41" fmla="*/ 4839 h 5476"/>
              <a:gd name="T42" fmla="*/ 6013 w 7355"/>
              <a:gd name="T43" fmla="*/ 5030 h 5476"/>
              <a:gd name="T44" fmla="*/ 5874 w 7355"/>
              <a:gd name="T45" fmla="*/ 4891 h 5476"/>
              <a:gd name="T46" fmla="*/ 6013 w 7355"/>
              <a:gd name="T47" fmla="*/ 4752 h 5476"/>
              <a:gd name="T48" fmla="*/ 6152 w 7355"/>
              <a:gd name="T49" fmla="*/ 4891 h 5476"/>
              <a:gd name="T50" fmla="*/ 6013 w 7355"/>
              <a:gd name="T51" fmla="*/ 5030 h 5476"/>
              <a:gd name="T52" fmla="*/ 6614 w 7355"/>
              <a:gd name="T53" fmla="*/ 5030 h 5476"/>
              <a:gd name="T54" fmla="*/ 6476 w 7355"/>
              <a:gd name="T55" fmla="*/ 4891 h 5476"/>
              <a:gd name="T56" fmla="*/ 6614 w 7355"/>
              <a:gd name="T57" fmla="*/ 4752 h 5476"/>
              <a:gd name="T58" fmla="*/ 6753 w 7355"/>
              <a:gd name="T59" fmla="*/ 4891 h 5476"/>
              <a:gd name="T60" fmla="*/ 6614 w 7355"/>
              <a:gd name="T61" fmla="*/ 5030 h 5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355" h="5476">
                <a:moveTo>
                  <a:pt x="6776" y="0"/>
                </a:moveTo>
                <a:lnTo>
                  <a:pt x="393" y="0"/>
                </a:lnTo>
                <a:lnTo>
                  <a:pt x="393" y="4320"/>
                </a:lnTo>
                <a:lnTo>
                  <a:pt x="6776" y="4320"/>
                </a:lnTo>
                <a:lnTo>
                  <a:pt x="6776" y="0"/>
                </a:lnTo>
                <a:lnTo>
                  <a:pt x="6776" y="0"/>
                </a:lnTo>
                <a:close/>
                <a:moveTo>
                  <a:pt x="6360" y="3904"/>
                </a:moveTo>
                <a:lnTo>
                  <a:pt x="809" y="3904"/>
                </a:lnTo>
                <a:lnTo>
                  <a:pt x="809" y="416"/>
                </a:lnTo>
                <a:lnTo>
                  <a:pt x="6360" y="416"/>
                </a:lnTo>
                <a:lnTo>
                  <a:pt x="6360" y="3904"/>
                </a:lnTo>
                <a:close/>
                <a:moveTo>
                  <a:pt x="0" y="4556"/>
                </a:moveTo>
                <a:lnTo>
                  <a:pt x="0" y="5134"/>
                </a:lnTo>
                <a:cubicBezTo>
                  <a:pt x="1035" y="5476"/>
                  <a:pt x="7106" y="5290"/>
                  <a:pt x="7355" y="5134"/>
                </a:cubicBezTo>
                <a:lnTo>
                  <a:pt x="7355" y="4556"/>
                </a:lnTo>
                <a:lnTo>
                  <a:pt x="0" y="4556"/>
                </a:lnTo>
                <a:close/>
                <a:moveTo>
                  <a:pt x="4504" y="4839"/>
                </a:moveTo>
                <a:lnTo>
                  <a:pt x="3012" y="4839"/>
                </a:lnTo>
                <a:lnTo>
                  <a:pt x="3012" y="4666"/>
                </a:lnTo>
                <a:lnTo>
                  <a:pt x="4504" y="4666"/>
                </a:lnTo>
                <a:lnTo>
                  <a:pt x="4504" y="4839"/>
                </a:lnTo>
                <a:close/>
                <a:moveTo>
                  <a:pt x="6013" y="5030"/>
                </a:moveTo>
                <a:cubicBezTo>
                  <a:pt x="5936" y="5030"/>
                  <a:pt x="5874" y="4968"/>
                  <a:pt x="5874" y="4891"/>
                </a:cubicBezTo>
                <a:cubicBezTo>
                  <a:pt x="5874" y="4815"/>
                  <a:pt x="5936" y="4752"/>
                  <a:pt x="6013" y="4752"/>
                </a:cubicBezTo>
                <a:cubicBezTo>
                  <a:pt x="6090" y="4752"/>
                  <a:pt x="6152" y="4815"/>
                  <a:pt x="6152" y="4891"/>
                </a:cubicBezTo>
                <a:cubicBezTo>
                  <a:pt x="6152" y="4968"/>
                  <a:pt x="6090" y="5030"/>
                  <a:pt x="6013" y="5030"/>
                </a:cubicBezTo>
                <a:close/>
                <a:moveTo>
                  <a:pt x="6614" y="5030"/>
                </a:moveTo>
                <a:cubicBezTo>
                  <a:pt x="6538" y="5030"/>
                  <a:pt x="6476" y="4968"/>
                  <a:pt x="6476" y="4891"/>
                </a:cubicBezTo>
                <a:cubicBezTo>
                  <a:pt x="6476" y="4815"/>
                  <a:pt x="6538" y="4752"/>
                  <a:pt x="6614" y="4752"/>
                </a:cubicBezTo>
                <a:cubicBezTo>
                  <a:pt x="6691" y="4752"/>
                  <a:pt x="6753" y="4815"/>
                  <a:pt x="6753" y="4891"/>
                </a:cubicBezTo>
                <a:cubicBezTo>
                  <a:pt x="6753" y="4968"/>
                  <a:pt x="6691" y="5030"/>
                  <a:pt x="6614" y="503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82" name="laptop_32115"/>
          <p:cNvSpPr>
            <a:spLocks noChangeAspect="1"/>
          </p:cNvSpPr>
          <p:nvPr/>
        </p:nvSpPr>
        <p:spPr bwMode="auto">
          <a:xfrm>
            <a:off x="5772403" y="2081051"/>
            <a:ext cx="407350" cy="302808"/>
          </a:xfrm>
          <a:custGeom>
            <a:avLst/>
            <a:gdLst>
              <a:gd name="T0" fmla="*/ 6776 w 7355"/>
              <a:gd name="T1" fmla="*/ 0 h 5476"/>
              <a:gd name="T2" fmla="*/ 393 w 7355"/>
              <a:gd name="T3" fmla="*/ 0 h 5476"/>
              <a:gd name="T4" fmla="*/ 393 w 7355"/>
              <a:gd name="T5" fmla="*/ 4320 h 5476"/>
              <a:gd name="T6" fmla="*/ 6776 w 7355"/>
              <a:gd name="T7" fmla="*/ 4320 h 5476"/>
              <a:gd name="T8" fmla="*/ 6776 w 7355"/>
              <a:gd name="T9" fmla="*/ 0 h 5476"/>
              <a:gd name="T10" fmla="*/ 6776 w 7355"/>
              <a:gd name="T11" fmla="*/ 0 h 5476"/>
              <a:gd name="T12" fmla="*/ 6360 w 7355"/>
              <a:gd name="T13" fmla="*/ 3904 h 5476"/>
              <a:gd name="T14" fmla="*/ 809 w 7355"/>
              <a:gd name="T15" fmla="*/ 3904 h 5476"/>
              <a:gd name="T16" fmla="*/ 809 w 7355"/>
              <a:gd name="T17" fmla="*/ 416 h 5476"/>
              <a:gd name="T18" fmla="*/ 6360 w 7355"/>
              <a:gd name="T19" fmla="*/ 416 h 5476"/>
              <a:gd name="T20" fmla="*/ 6360 w 7355"/>
              <a:gd name="T21" fmla="*/ 3904 h 5476"/>
              <a:gd name="T22" fmla="*/ 0 w 7355"/>
              <a:gd name="T23" fmla="*/ 4556 h 5476"/>
              <a:gd name="T24" fmla="*/ 0 w 7355"/>
              <a:gd name="T25" fmla="*/ 5134 h 5476"/>
              <a:gd name="T26" fmla="*/ 7355 w 7355"/>
              <a:gd name="T27" fmla="*/ 5134 h 5476"/>
              <a:gd name="T28" fmla="*/ 7355 w 7355"/>
              <a:gd name="T29" fmla="*/ 4556 h 5476"/>
              <a:gd name="T30" fmla="*/ 0 w 7355"/>
              <a:gd name="T31" fmla="*/ 4556 h 5476"/>
              <a:gd name="T32" fmla="*/ 4504 w 7355"/>
              <a:gd name="T33" fmla="*/ 4839 h 5476"/>
              <a:gd name="T34" fmla="*/ 3012 w 7355"/>
              <a:gd name="T35" fmla="*/ 4839 h 5476"/>
              <a:gd name="T36" fmla="*/ 3012 w 7355"/>
              <a:gd name="T37" fmla="*/ 4666 h 5476"/>
              <a:gd name="T38" fmla="*/ 4504 w 7355"/>
              <a:gd name="T39" fmla="*/ 4666 h 5476"/>
              <a:gd name="T40" fmla="*/ 4504 w 7355"/>
              <a:gd name="T41" fmla="*/ 4839 h 5476"/>
              <a:gd name="T42" fmla="*/ 6013 w 7355"/>
              <a:gd name="T43" fmla="*/ 5030 h 5476"/>
              <a:gd name="T44" fmla="*/ 5874 w 7355"/>
              <a:gd name="T45" fmla="*/ 4891 h 5476"/>
              <a:gd name="T46" fmla="*/ 6013 w 7355"/>
              <a:gd name="T47" fmla="*/ 4752 h 5476"/>
              <a:gd name="T48" fmla="*/ 6152 w 7355"/>
              <a:gd name="T49" fmla="*/ 4891 h 5476"/>
              <a:gd name="T50" fmla="*/ 6013 w 7355"/>
              <a:gd name="T51" fmla="*/ 5030 h 5476"/>
              <a:gd name="T52" fmla="*/ 6614 w 7355"/>
              <a:gd name="T53" fmla="*/ 5030 h 5476"/>
              <a:gd name="T54" fmla="*/ 6476 w 7355"/>
              <a:gd name="T55" fmla="*/ 4891 h 5476"/>
              <a:gd name="T56" fmla="*/ 6614 w 7355"/>
              <a:gd name="T57" fmla="*/ 4752 h 5476"/>
              <a:gd name="T58" fmla="*/ 6753 w 7355"/>
              <a:gd name="T59" fmla="*/ 4891 h 5476"/>
              <a:gd name="T60" fmla="*/ 6614 w 7355"/>
              <a:gd name="T61" fmla="*/ 5030 h 5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355" h="5476">
                <a:moveTo>
                  <a:pt x="6776" y="0"/>
                </a:moveTo>
                <a:lnTo>
                  <a:pt x="393" y="0"/>
                </a:lnTo>
                <a:lnTo>
                  <a:pt x="393" y="4320"/>
                </a:lnTo>
                <a:lnTo>
                  <a:pt x="6776" y="4320"/>
                </a:lnTo>
                <a:lnTo>
                  <a:pt x="6776" y="0"/>
                </a:lnTo>
                <a:lnTo>
                  <a:pt x="6776" y="0"/>
                </a:lnTo>
                <a:close/>
                <a:moveTo>
                  <a:pt x="6360" y="3904"/>
                </a:moveTo>
                <a:lnTo>
                  <a:pt x="809" y="3904"/>
                </a:lnTo>
                <a:lnTo>
                  <a:pt x="809" y="416"/>
                </a:lnTo>
                <a:lnTo>
                  <a:pt x="6360" y="416"/>
                </a:lnTo>
                <a:lnTo>
                  <a:pt x="6360" y="3904"/>
                </a:lnTo>
                <a:close/>
                <a:moveTo>
                  <a:pt x="0" y="4556"/>
                </a:moveTo>
                <a:lnTo>
                  <a:pt x="0" y="5134"/>
                </a:lnTo>
                <a:cubicBezTo>
                  <a:pt x="1035" y="5476"/>
                  <a:pt x="7106" y="5290"/>
                  <a:pt x="7355" y="5134"/>
                </a:cubicBezTo>
                <a:lnTo>
                  <a:pt x="7355" y="4556"/>
                </a:lnTo>
                <a:lnTo>
                  <a:pt x="0" y="4556"/>
                </a:lnTo>
                <a:close/>
                <a:moveTo>
                  <a:pt x="4504" y="4839"/>
                </a:moveTo>
                <a:lnTo>
                  <a:pt x="3012" y="4839"/>
                </a:lnTo>
                <a:lnTo>
                  <a:pt x="3012" y="4666"/>
                </a:lnTo>
                <a:lnTo>
                  <a:pt x="4504" y="4666"/>
                </a:lnTo>
                <a:lnTo>
                  <a:pt x="4504" y="4839"/>
                </a:lnTo>
                <a:close/>
                <a:moveTo>
                  <a:pt x="6013" y="5030"/>
                </a:moveTo>
                <a:cubicBezTo>
                  <a:pt x="5936" y="5030"/>
                  <a:pt x="5874" y="4968"/>
                  <a:pt x="5874" y="4891"/>
                </a:cubicBezTo>
                <a:cubicBezTo>
                  <a:pt x="5874" y="4815"/>
                  <a:pt x="5936" y="4752"/>
                  <a:pt x="6013" y="4752"/>
                </a:cubicBezTo>
                <a:cubicBezTo>
                  <a:pt x="6090" y="4752"/>
                  <a:pt x="6152" y="4815"/>
                  <a:pt x="6152" y="4891"/>
                </a:cubicBezTo>
                <a:cubicBezTo>
                  <a:pt x="6152" y="4968"/>
                  <a:pt x="6090" y="5030"/>
                  <a:pt x="6013" y="5030"/>
                </a:cubicBezTo>
                <a:close/>
                <a:moveTo>
                  <a:pt x="6614" y="5030"/>
                </a:moveTo>
                <a:cubicBezTo>
                  <a:pt x="6538" y="5030"/>
                  <a:pt x="6476" y="4968"/>
                  <a:pt x="6476" y="4891"/>
                </a:cubicBezTo>
                <a:cubicBezTo>
                  <a:pt x="6476" y="4815"/>
                  <a:pt x="6538" y="4752"/>
                  <a:pt x="6614" y="4752"/>
                </a:cubicBezTo>
                <a:cubicBezTo>
                  <a:pt x="6691" y="4752"/>
                  <a:pt x="6753" y="4815"/>
                  <a:pt x="6753" y="4891"/>
                </a:cubicBezTo>
                <a:cubicBezTo>
                  <a:pt x="6753" y="4968"/>
                  <a:pt x="6691" y="5030"/>
                  <a:pt x="6614" y="5030"/>
                </a:cubicBezTo>
                <a:close/>
              </a:path>
            </a:pathLst>
          </a:custGeom>
          <a:solidFill>
            <a:srgbClr val="F05A23"/>
          </a:solidFill>
          <a:ln>
            <a:noFill/>
          </a:ln>
        </p:spPr>
      </p:sp>
      <p:sp>
        <p:nvSpPr>
          <p:cNvPr id="83" name="文本框 82"/>
          <p:cNvSpPr txBox="1"/>
          <p:nvPr/>
        </p:nvSpPr>
        <p:spPr>
          <a:xfrm>
            <a:off x="4403944" y="2565282"/>
            <a:ext cx="1969450" cy="43200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noProof="0">
                <a:solidFill>
                  <a:srgbClr val="F05A23"/>
                </a:solidFill>
                <a:ea typeface="楷体"/>
              </a:rPr>
              <a:t>云</a:t>
            </a: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机</a:t>
            </a: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器</a:t>
            </a: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人（</a:t>
            </a:r>
            <a:r>
              <a:rPr lang="en-US" altLang="zh-CN" sz="1600" b="1" smtClean="0">
                <a:solidFill>
                  <a:srgbClr val="F05A23"/>
                </a:solidFill>
                <a:ea typeface="楷体"/>
              </a:rPr>
              <a:t>5+</a:t>
            </a: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个）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84" name="文本框 83"/>
          <p:cNvSpPr txBox="1"/>
          <p:nvPr/>
        </p:nvSpPr>
        <p:spPr>
          <a:xfrm>
            <a:off x="5082792" y="2320527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……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85" name="laptop_32115"/>
          <p:cNvSpPr>
            <a:spLocks noChangeAspect="1"/>
          </p:cNvSpPr>
          <p:nvPr/>
        </p:nvSpPr>
        <p:spPr bwMode="auto">
          <a:xfrm>
            <a:off x="6936991" y="2062225"/>
            <a:ext cx="407350" cy="302808"/>
          </a:xfrm>
          <a:custGeom>
            <a:avLst/>
            <a:gdLst>
              <a:gd name="T0" fmla="*/ 6776 w 7355"/>
              <a:gd name="T1" fmla="*/ 0 h 5476"/>
              <a:gd name="T2" fmla="*/ 393 w 7355"/>
              <a:gd name="T3" fmla="*/ 0 h 5476"/>
              <a:gd name="T4" fmla="*/ 393 w 7355"/>
              <a:gd name="T5" fmla="*/ 4320 h 5476"/>
              <a:gd name="T6" fmla="*/ 6776 w 7355"/>
              <a:gd name="T7" fmla="*/ 4320 h 5476"/>
              <a:gd name="T8" fmla="*/ 6776 w 7355"/>
              <a:gd name="T9" fmla="*/ 0 h 5476"/>
              <a:gd name="T10" fmla="*/ 6776 w 7355"/>
              <a:gd name="T11" fmla="*/ 0 h 5476"/>
              <a:gd name="T12" fmla="*/ 6360 w 7355"/>
              <a:gd name="T13" fmla="*/ 3904 h 5476"/>
              <a:gd name="T14" fmla="*/ 809 w 7355"/>
              <a:gd name="T15" fmla="*/ 3904 h 5476"/>
              <a:gd name="T16" fmla="*/ 809 w 7355"/>
              <a:gd name="T17" fmla="*/ 416 h 5476"/>
              <a:gd name="T18" fmla="*/ 6360 w 7355"/>
              <a:gd name="T19" fmla="*/ 416 h 5476"/>
              <a:gd name="T20" fmla="*/ 6360 w 7355"/>
              <a:gd name="T21" fmla="*/ 3904 h 5476"/>
              <a:gd name="T22" fmla="*/ 0 w 7355"/>
              <a:gd name="T23" fmla="*/ 4556 h 5476"/>
              <a:gd name="T24" fmla="*/ 0 w 7355"/>
              <a:gd name="T25" fmla="*/ 5134 h 5476"/>
              <a:gd name="T26" fmla="*/ 7355 w 7355"/>
              <a:gd name="T27" fmla="*/ 5134 h 5476"/>
              <a:gd name="T28" fmla="*/ 7355 w 7355"/>
              <a:gd name="T29" fmla="*/ 4556 h 5476"/>
              <a:gd name="T30" fmla="*/ 0 w 7355"/>
              <a:gd name="T31" fmla="*/ 4556 h 5476"/>
              <a:gd name="T32" fmla="*/ 4504 w 7355"/>
              <a:gd name="T33" fmla="*/ 4839 h 5476"/>
              <a:gd name="T34" fmla="*/ 3012 w 7355"/>
              <a:gd name="T35" fmla="*/ 4839 h 5476"/>
              <a:gd name="T36" fmla="*/ 3012 w 7355"/>
              <a:gd name="T37" fmla="*/ 4666 h 5476"/>
              <a:gd name="T38" fmla="*/ 4504 w 7355"/>
              <a:gd name="T39" fmla="*/ 4666 h 5476"/>
              <a:gd name="T40" fmla="*/ 4504 w 7355"/>
              <a:gd name="T41" fmla="*/ 4839 h 5476"/>
              <a:gd name="T42" fmla="*/ 6013 w 7355"/>
              <a:gd name="T43" fmla="*/ 5030 h 5476"/>
              <a:gd name="T44" fmla="*/ 5874 w 7355"/>
              <a:gd name="T45" fmla="*/ 4891 h 5476"/>
              <a:gd name="T46" fmla="*/ 6013 w 7355"/>
              <a:gd name="T47" fmla="*/ 4752 h 5476"/>
              <a:gd name="T48" fmla="*/ 6152 w 7355"/>
              <a:gd name="T49" fmla="*/ 4891 h 5476"/>
              <a:gd name="T50" fmla="*/ 6013 w 7355"/>
              <a:gd name="T51" fmla="*/ 5030 h 5476"/>
              <a:gd name="T52" fmla="*/ 6614 w 7355"/>
              <a:gd name="T53" fmla="*/ 5030 h 5476"/>
              <a:gd name="T54" fmla="*/ 6476 w 7355"/>
              <a:gd name="T55" fmla="*/ 4891 h 5476"/>
              <a:gd name="T56" fmla="*/ 6614 w 7355"/>
              <a:gd name="T57" fmla="*/ 4752 h 5476"/>
              <a:gd name="T58" fmla="*/ 6753 w 7355"/>
              <a:gd name="T59" fmla="*/ 4891 h 5476"/>
              <a:gd name="T60" fmla="*/ 6614 w 7355"/>
              <a:gd name="T61" fmla="*/ 5030 h 5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355" h="5476">
                <a:moveTo>
                  <a:pt x="6776" y="0"/>
                </a:moveTo>
                <a:lnTo>
                  <a:pt x="393" y="0"/>
                </a:lnTo>
                <a:lnTo>
                  <a:pt x="393" y="4320"/>
                </a:lnTo>
                <a:lnTo>
                  <a:pt x="6776" y="4320"/>
                </a:lnTo>
                <a:lnTo>
                  <a:pt x="6776" y="0"/>
                </a:lnTo>
                <a:lnTo>
                  <a:pt x="6776" y="0"/>
                </a:lnTo>
                <a:close/>
                <a:moveTo>
                  <a:pt x="6360" y="3904"/>
                </a:moveTo>
                <a:lnTo>
                  <a:pt x="809" y="3904"/>
                </a:lnTo>
                <a:lnTo>
                  <a:pt x="809" y="416"/>
                </a:lnTo>
                <a:lnTo>
                  <a:pt x="6360" y="416"/>
                </a:lnTo>
                <a:lnTo>
                  <a:pt x="6360" y="3904"/>
                </a:lnTo>
                <a:close/>
                <a:moveTo>
                  <a:pt x="0" y="4556"/>
                </a:moveTo>
                <a:lnTo>
                  <a:pt x="0" y="5134"/>
                </a:lnTo>
                <a:cubicBezTo>
                  <a:pt x="1035" y="5476"/>
                  <a:pt x="7106" y="5290"/>
                  <a:pt x="7355" y="5134"/>
                </a:cubicBezTo>
                <a:lnTo>
                  <a:pt x="7355" y="4556"/>
                </a:lnTo>
                <a:lnTo>
                  <a:pt x="0" y="4556"/>
                </a:lnTo>
                <a:close/>
                <a:moveTo>
                  <a:pt x="4504" y="4839"/>
                </a:moveTo>
                <a:lnTo>
                  <a:pt x="3012" y="4839"/>
                </a:lnTo>
                <a:lnTo>
                  <a:pt x="3012" y="4666"/>
                </a:lnTo>
                <a:lnTo>
                  <a:pt x="4504" y="4666"/>
                </a:lnTo>
                <a:lnTo>
                  <a:pt x="4504" y="4839"/>
                </a:lnTo>
                <a:close/>
                <a:moveTo>
                  <a:pt x="6013" y="5030"/>
                </a:moveTo>
                <a:cubicBezTo>
                  <a:pt x="5936" y="5030"/>
                  <a:pt x="5874" y="4968"/>
                  <a:pt x="5874" y="4891"/>
                </a:cubicBezTo>
                <a:cubicBezTo>
                  <a:pt x="5874" y="4815"/>
                  <a:pt x="5936" y="4752"/>
                  <a:pt x="6013" y="4752"/>
                </a:cubicBezTo>
                <a:cubicBezTo>
                  <a:pt x="6090" y="4752"/>
                  <a:pt x="6152" y="4815"/>
                  <a:pt x="6152" y="4891"/>
                </a:cubicBezTo>
                <a:cubicBezTo>
                  <a:pt x="6152" y="4968"/>
                  <a:pt x="6090" y="5030"/>
                  <a:pt x="6013" y="5030"/>
                </a:cubicBezTo>
                <a:close/>
                <a:moveTo>
                  <a:pt x="6614" y="5030"/>
                </a:moveTo>
                <a:cubicBezTo>
                  <a:pt x="6538" y="5030"/>
                  <a:pt x="6476" y="4968"/>
                  <a:pt x="6476" y="4891"/>
                </a:cubicBezTo>
                <a:cubicBezTo>
                  <a:pt x="6476" y="4815"/>
                  <a:pt x="6538" y="4752"/>
                  <a:pt x="6614" y="4752"/>
                </a:cubicBezTo>
                <a:cubicBezTo>
                  <a:pt x="6691" y="4752"/>
                  <a:pt x="6753" y="4815"/>
                  <a:pt x="6753" y="4891"/>
                </a:cubicBezTo>
                <a:cubicBezTo>
                  <a:pt x="6753" y="4968"/>
                  <a:pt x="6691" y="5030"/>
                  <a:pt x="6614" y="5030"/>
                </a:cubicBezTo>
                <a:close/>
              </a:path>
            </a:pathLst>
          </a:custGeom>
          <a:solidFill>
            <a:srgbClr val="E95504"/>
          </a:solidFill>
          <a:ln>
            <a:solidFill>
              <a:srgbClr val="E95504"/>
            </a:solidFill>
          </a:ln>
        </p:spPr>
      </p:sp>
      <p:sp>
        <p:nvSpPr>
          <p:cNvPr id="86" name="文本框 85"/>
          <p:cNvSpPr txBox="1"/>
          <p:nvPr/>
        </p:nvSpPr>
        <p:spPr>
          <a:xfrm>
            <a:off x="6179753" y="2460889"/>
            <a:ext cx="1969450" cy="432008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noProof="0" smtClean="0">
                <a:solidFill>
                  <a:srgbClr val="F05A23"/>
                </a:solidFill>
                <a:latin typeface="+mn-ea"/>
              </a:rPr>
              <a:t>本地机器人</a:t>
            </a:r>
            <a:endParaRPr lang="en-US" altLang="zh-CN" sz="1600" b="1" noProof="0" smtClean="0">
              <a:solidFill>
                <a:srgbClr val="F05A23"/>
              </a:solidFill>
              <a:latin typeface="+mn-ea"/>
            </a:endParaRPr>
          </a:p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ea"/>
              </a:rPr>
              <a:t>（备份</a:t>
            </a:r>
            <a:r>
              <a:rPr kumimoji="0" lang="en-US" altLang="zh-CN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ea"/>
              </a:rPr>
              <a:t>1</a:t>
            </a: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ea"/>
              </a:rPr>
              <a:t>台）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ea"/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785440" y="5368329"/>
            <a:ext cx="2507390" cy="432008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smtClean="0">
                <a:solidFill>
                  <a:srgbClr val="F05A23"/>
                </a:solidFill>
                <a:ea typeface="楷体"/>
              </a:rPr>
              <a:t>网银</a:t>
            </a:r>
            <a:r>
              <a:rPr lang="en-US" altLang="zh-CN" sz="1600" b="1" smtClean="0">
                <a:solidFill>
                  <a:srgbClr val="F05A23"/>
                </a:solidFill>
                <a:ea typeface="楷体"/>
              </a:rPr>
              <a:t>Ukey</a:t>
            </a:r>
            <a:r>
              <a:rPr lang="zh-CN" altLang="en-US" sz="1600" b="1" smtClean="0">
                <a:solidFill>
                  <a:srgbClr val="F05A23"/>
                </a:solidFill>
                <a:ea typeface="楷体"/>
              </a:rPr>
              <a:t>集中控</a:t>
            </a:r>
            <a:r>
              <a:rPr lang="zh-CN" altLang="en-US" sz="1600" b="1">
                <a:solidFill>
                  <a:srgbClr val="F05A23"/>
                </a:solidFill>
                <a:ea typeface="楷体"/>
              </a:rPr>
              <a:t>制平台</a:t>
            </a:r>
            <a:endParaRPr lang="zh-CN" altLang="en-US" sz="1600" b="1" dirty="0">
              <a:solidFill>
                <a:srgbClr val="F05A23"/>
              </a:solidFill>
              <a:ea typeface="楷体"/>
            </a:endParaRPr>
          </a:p>
        </p:txBody>
      </p:sp>
      <p:sp>
        <p:nvSpPr>
          <p:cNvPr id="89" name="server_182394"/>
          <p:cNvSpPr>
            <a:spLocks noChangeAspect="1"/>
          </p:cNvSpPr>
          <p:nvPr/>
        </p:nvSpPr>
        <p:spPr bwMode="auto">
          <a:xfrm>
            <a:off x="4924786" y="4214294"/>
            <a:ext cx="306463" cy="306000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607639" h="606722">
                <a:moveTo>
                  <a:pt x="486081" y="475259"/>
                </a:moveTo>
                <a:cubicBezTo>
                  <a:pt x="497298" y="475259"/>
                  <a:pt x="506378" y="484329"/>
                  <a:pt x="506378" y="495443"/>
                </a:cubicBezTo>
                <a:cubicBezTo>
                  <a:pt x="506378" y="502912"/>
                  <a:pt x="502283" y="509403"/>
                  <a:pt x="496230" y="512871"/>
                </a:cubicBezTo>
                <a:lnTo>
                  <a:pt x="496230" y="535900"/>
                </a:lnTo>
                <a:cubicBezTo>
                  <a:pt x="496230" y="541502"/>
                  <a:pt x="491690" y="546036"/>
                  <a:pt x="486081" y="546036"/>
                </a:cubicBezTo>
                <a:cubicBezTo>
                  <a:pt x="480562" y="546036"/>
                  <a:pt x="476022" y="541502"/>
                  <a:pt x="476022" y="535900"/>
                </a:cubicBezTo>
                <a:lnTo>
                  <a:pt x="476022" y="512871"/>
                </a:lnTo>
                <a:cubicBezTo>
                  <a:pt x="469968" y="509403"/>
                  <a:pt x="465873" y="502912"/>
                  <a:pt x="465873" y="495443"/>
                </a:cubicBezTo>
                <a:cubicBezTo>
                  <a:pt x="465873" y="484329"/>
                  <a:pt x="474953" y="475259"/>
                  <a:pt x="486081" y="475259"/>
                </a:cubicBezTo>
                <a:close/>
                <a:moveTo>
                  <a:pt x="415190" y="424698"/>
                </a:moveTo>
                <a:cubicBezTo>
                  <a:pt x="398455" y="424698"/>
                  <a:pt x="384836" y="438297"/>
                  <a:pt x="384836" y="455006"/>
                </a:cubicBezTo>
                <a:lnTo>
                  <a:pt x="384836" y="556150"/>
                </a:lnTo>
                <a:cubicBezTo>
                  <a:pt x="384836" y="572859"/>
                  <a:pt x="398455" y="586458"/>
                  <a:pt x="415190" y="586458"/>
                </a:cubicBezTo>
                <a:lnTo>
                  <a:pt x="556990" y="586458"/>
                </a:lnTo>
                <a:cubicBezTo>
                  <a:pt x="573725" y="586458"/>
                  <a:pt x="587344" y="572859"/>
                  <a:pt x="587344" y="556150"/>
                </a:cubicBezTo>
                <a:lnTo>
                  <a:pt x="587344" y="455006"/>
                </a:lnTo>
                <a:cubicBezTo>
                  <a:pt x="587344" y="438297"/>
                  <a:pt x="573725" y="424698"/>
                  <a:pt x="556990" y="424698"/>
                </a:cubicBezTo>
                <a:close/>
                <a:moveTo>
                  <a:pt x="111409" y="404481"/>
                </a:moveTo>
                <a:lnTo>
                  <a:pt x="293724" y="404481"/>
                </a:lnTo>
                <a:cubicBezTo>
                  <a:pt x="299244" y="404481"/>
                  <a:pt x="303784" y="409011"/>
                  <a:pt x="303784" y="414607"/>
                </a:cubicBezTo>
                <a:cubicBezTo>
                  <a:pt x="303784" y="420203"/>
                  <a:pt x="299244" y="424733"/>
                  <a:pt x="293724" y="424733"/>
                </a:cubicBezTo>
                <a:lnTo>
                  <a:pt x="111409" y="424733"/>
                </a:lnTo>
                <a:cubicBezTo>
                  <a:pt x="105801" y="424733"/>
                  <a:pt x="101261" y="420203"/>
                  <a:pt x="101261" y="414607"/>
                </a:cubicBezTo>
                <a:cubicBezTo>
                  <a:pt x="101261" y="409011"/>
                  <a:pt x="105801" y="404481"/>
                  <a:pt x="111409" y="404481"/>
                </a:cubicBezTo>
                <a:close/>
                <a:moveTo>
                  <a:pt x="10146" y="323613"/>
                </a:moveTo>
                <a:lnTo>
                  <a:pt x="394900" y="323613"/>
                </a:lnTo>
                <a:cubicBezTo>
                  <a:pt x="400507" y="323613"/>
                  <a:pt x="405046" y="328145"/>
                  <a:pt x="405046" y="333743"/>
                </a:cubicBezTo>
                <a:cubicBezTo>
                  <a:pt x="405046" y="339252"/>
                  <a:pt x="400507" y="343784"/>
                  <a:pt x="394900" y="343784"/>
                </a:cubicBezTo>
                <a:lnTo>
                  <a:pt x="20292" y="343784"/>
                </a:lnTo>
                <a:lnTo>
                  <a:pt x="20292" y="455039"/>
                </a:lnTo>
                <a:cubicBezTo>
                  <a:pt x="20292" y="469790"/>
                  <a:pt x="35867" y="485341"/>
                  <a:pt x="50642" y="485341"/>
                </a:cubicBezTo>
                <a:lnTo>
                  <a:pt x="334201" y="485341"/>
                </a:lnTo>
                <a:cubicBezTo>
                  <a:pt x="339719" y="485341"/>
                  <a:pt x="344258" y="489873"/>
                  <a:pt x="344258" y="495471"/>
                </a:cubicBezTo>
                <a:cubicBezTo>
                  <a:pt x="344258" y="501069"/>
                  <a:pt x="339719" y="505601"/>
                  <a:pt x="334201" y="505601"/>
                </a:cubicBezTo>
                <a:lnTo>
                  <a:pt x="50642" y="505601"/>
                </a:lnTo>
                <a:cubicBezTo>
                  <a:pt x="24564" y="505601"/>
                  <a:pt x="0" y="480987"/>
                  <a:pt x="0" y="455039"/>
                </a:cubicBezTo>
                <a:lnTo>
                  <a:pt x="0" y="333743"/>
                </a:lnTo>
                <a:cubicBezTo>
                  <a:pt x="0" y="328145"/>
                  <a:pt x="4539" y="323613"/>
                  <a:pt x="10146" y="323613"/>
                </a:cubicBezTo>
                <a:close/>
                <a:moveTo>
                  <a:pt x="486046" y="323554"/>
                </a:moveTo>
                <a:cubicBezTo>
                  <a:pt x="463703" y="323554"/>
                  <a:pt x="445544" y="341685"/>
                  <a:pt x="445544" y="363994"/>
                </a:cubicBezTo>
                <a:lnTo>
                  <a:pt x="445544" y="404434"/>
                </a:lnTo>
                <a:lnTo>
                  <a:pt x="526547" y="404434"/>
                </a:lnTo>
                <a:lnTo>
                  <a:pt x="526547" y="363994"/>
                </a:lnTo>
                <a:cubicBezTo>
                  <a:pt x="526547" y="341685"/>
                  <a:pt x="508388" y="323554"/>
                  <a:pt x="486046" y="323554"/>
                </a:cubicBezTo>
                <a:close/>
                <a:moveTo>
                  <a:pt x="486046" y="303290"/>
                </a:moveTo>
                <a:cubicBezTo>
                  <a:pt x="519604" y="303290"/>
                  <a:pt x="546842" y="330576"/>
                  <a:pt x="546842" y="363994"/>
                </a:cubicBezTo>
                <a:lnTo>
                  <a:pt x="546842" y="404434"/>
                </a:lnTo>
                <a:lnTo>
                  <a:pt x="556990" y="404434"/>
                </a:lnTo>
                <a:cubicBezTo>
                  <a:pt x="584852" y="404434"/>
                  <a:pt x="607639" y="427098"/>
                  <a:pt x="607639" y="455006"/>
                </a:cubicBezTo>
                <a:lnTo>
                  <a:pt x="607639" y="556150"/>
                </a:lnTo>
                <a:cubicBezTo>
                  <a:pt x="607639" y="583969"/>
                  <a:pt x="584852" y="606722"/>
                  <a:pt x="556990" y="606722"/>
                </a:cubicBezTo>
                <a:lnTo>
                  <a:pt x="415190" y="606722"/>
                </a:lnTo>
                <a:cubicBezTo>
                  <a:pt x="387239" y="606722"/>
                  <a:pt x="364541" y="583969"/>
                  <a:pt x="364541" y="556150"/>
                </a:cubicBezTo>
                <a:lnTo>
                  <a:pt x="364541" y="455006"/>
                </a:lnTo>
                <a:cubicBezTo>
                  <a:pt x="364541" y="427098"/>
                  <a:pt x="387239" y="404434"/>
                  <a:pt x="415190" y="404434"/>
                </a:cubicBezTo>
                <a:lnTo>
                  <a:pt x="425338" y="404434"/>
                </a:lnTo>
                <a:lnTo>
                  <a:pt x="425338" y="363994"/>
                </a:lnTo>
                <a:cubicBezTo>
                  <a:pt x="425338" y="330576"/>
                  <a:pt x="452576" y="303290"/>
                  <a:pt x="486046" y="303290"/>
                </a:cubicBezTo>
                <a:close/>
                <a:moveTo>
                  <a:pt x="111409" y="242745"/>
                </a:moveTo>
                <a:lnTo>
                  <a:pt x="293724" y="242745"/>
                </a:lnTo>
                <a:cubicBezTo>
                  <a:pt x="299244" y="242745"/>
                  <a:pt x="303784" y="247263"/>
                  <a:pt x="303784" y="252756"/>
                </a:cubicBezTo>
                <a:cubicBezTo>
                  <a:pt x="303784" y="258337"/>
                  <a:pt x="299244" y="262856"/>
                  <a:pt x="293724" y="262856"/>
                </a:cubicBezTo>
                <a:lnTo>
                  <a:pt x="111409" y="262856"/>
                </a:lnTo>
                <a:cubicBezTo>
                  <a:pt x="105801" y="262856"/>
                  <a:pt x="101261" y="258337"/>
                  <a:pt x="101261" y="252756"/>
                </a:cubicBezTo>
                <a:cubicBezTo>
                  <a:pt x="101261" y="247263"/>
                  <a:pt x="105801" y="242745"/>
                  <a:pt x="111409" y="242745"/>
                </a:cubicBezTo>
                <a:close/>
                <a:moveTo>
                  <a:pt x="476008" y="242704"/>
                </a:moveTo>
                <a:cubicBezTo>
                  <a:pt x="470398" y="242704"/>
                  <a:pt x="465855" y="247240"/>
                  <a:pt x="465855" y="252756"/>
                </a:cubicBezTo>
                <a:cubicBezTo>
                  <a:pt x="465855" y="258360"/>
                  <a:pt x="470398" y="262897"/>
                  <a:pt x="476008" y="262897"/>
                </a:cubicBezTo>
                <a:cubicBezTo>
                  <a:pt x="481530" y="262897"/>
                  <a:pt x="486072" y="258360"/>
                  <a:pt x="486072" y="252756"/>
                </a:cubicBezTo>
                <a:cubicBezTo>
                  <a:pt x="486072" y="247240"/>
                  <a:pt x="481530" y="242704"/>
                  <a:pt x="476008" y="242704"/>
                </a:cubicBezTo>
                <a:close/>
                <a:moveTo>
                  <a:pt x="394910" y="242704"/>
                </a:moveTo>
                <a:cubicBezTo>
                  <a:pt x="389388" y="242704"/>
                  <a:pt x="384846" y="247240"/>
                  <a:pt x="384846" y="252756"/>
                </a:cubicBezTo>
                <a:cubicBezTo>
                  <a:pt x="384846" y="258360"/>
                  <a:pt x="389388" y="262897"/>
                  <a:pt x="394910" y="262897"/>
                </a:cubicBezTo>
                <a:cubicBezTo>
                  <a:pt x="400520" y="262897"/>
                  <a:pt x="405062" y="258360"/>
                  <a:pt x="405062" y="252756"/>
                </a:cubicBezTo>
                <a:cubicBezTo>
                  <a:pt x="405062" y="247240"/>
                  <a:pt x="400520" y="242704"/>
                  <a:pt x="394910" y="242704"/>
                </a:cubicBezTo>
                <a:close/>
                <a:moveTo>
                  <a:pt x="476008" y="222422"/>
                </a:moveTo>
                <a:cubicBezTo>
                  <a:pt x="492751" y="222422"/>
                  <a:pt x="506377" y="236032"/>
                  <a:pt x="506377" y="252756"/>
                </a:cubicBezTo>
                <a:cubicBezTo>
                  <a:pt x="506377" y="269568"/>
                  <a:pt x="492751" y="283179"/>
                  <a:pt x="476008" y="283179"/>
                </a:cubicBezTo>
                <a:cubicBezTo>
                  <a:pt x="459176" y="283179"/>
                  <a:pt x="445550" y="269568"/>
                  <a:pt x="445550" y="252756"/>
                </a:cubicBezTo>
                <a:cubicBezTo>
                  <a:pt x="445550" y="236032"/>
                  <a:pt x="459176" y="222422"/>
                  <a:pt x="476008" y="222422"/>
                </a:cubicBezTo>
                <a:close/>
                <a:moveTo>
                  <a:pt x="394910" y="222422"/>
                </a:moveTo>
                <a:cubicBezTo>
                  <a:pt x="411742" y="222422"/>
                  <a:pt x="425368" y="236032"/>
                  <a:pt x="425368" y="252756"/>
                </a:cubicBezTo>
                <a:cubicBezTo>
                  <a:pt x="425368" y="269568"/>
                  <a:pt x="411742" y="283179"/>
                  <a:pt x="394910" y="283179"/>
                </a:cubicBezTo>
                <a:cubicBezTo>
                  <a:pt x="378167" y="283179"/>
                  <a:pt x="364541" y="269568"/>
                  <a:pt x="364541" y="252756"/>
                </a:cubicBezTo>
                <a:cubicBezTo>
                  <a:pt x="364541" y="236032"/>
                  <a:pt x="378167" y="222422"/>
                  <a:pt x="394910" y="222422"/>
                </a:cubicBezTo>
                <a:close/>
                <a:moveTo>
                  <a:pt x="10146" y="161736"/>
                </a:moveTo>
                <a:lnTo>
                  <a:pt x="556988" y="161736"/>
                </a:lnTo>
                <a:cubicBezTo>
                  <a:pt x="562595" y="161736"/>
                  <a:pt x="567134" y="166268"/>
                  <a:pt x="567134" y="171866"/>
                </a:cubicBezTo>
                <a:cubicBezTo>
                  <a:pt x="567134" y="177464"/>
                  <a:pt x="562595" y="181996"/>
                  <a:pt x="556988" y="181996"/>
                </a:cubicBezTo>
                <a:lnTo>
                  <a:pt x="20293" y="181996"/>
                </a:lnTo>
                <a:lnTo>
                  <a:pt x="20293" y="293249"/>
                </a:lnTo>
                <a:cubicBezTo>
                  <a:pt x="20293" y="298758"/>
                  <a:pt x="15753" y="303290"/>
                  <a:pt x="10146" y="303290"/>
                </a:cubicBezTo>
                <a:cubicBezTo>
                  <a:pt x="4539" y="303290"/>
                  <a:pt x="0" y="298758"/>
                  <a:pt x="0" y="293249"/>
                </a:cubicBezTo>
                <a:lnTo>
                  <a:pt x="0" y="171866"/>
                </a:lnTo>
                <a:cubicBezTo>
                  <a:pt x="0" y="166268"/>
                  <a:pt x="4539" y="161736"/>
                  <a:pt x="10146" y="161736"/>
                </a:cubicBezTo>
                <a:close/>
                <a:moveTo>
                  <a:pt x="111409" y="80868"/>
                </a:moveTo>
                <a:lnTo>
                  <a:pt x="293724" y="80868"/>
                </a:lnTo>
                <a:cubicBezTo>
                  <a:pt x="299244" y="80868"/>
                  <a:pt x="303784" y="85398"/>
                  <a:pt x="303784" y="90994"/>
                </a:cubicBezTo>
                <a:cubicBezTo>
                  <a:pt x="303784" y="96590"/>
                  <a:pt x="299244" y="101120"/>
                  <a:pt x="293724" y="101120"/>
                </a:cubicBezTo>
                <a:lnTo>
                  <a:pt x="111409" y="101120"/>
                </a:lnTo>
                <a:cubicBezTo>
                  <a:pt x="105801" y="101120"/>
                  <a:pt x="101261" y="96590"/>
                  <a:pt x="101261" y="90994"/>
                </a:cubicBezTo>
                <a:cubicBezTo>
                  <a:pt x="101261" y="85398"/>
                  <a:pt x="105801" y="80868"/>
                  <a:pt x="111409" y="80868"/>
                </a:cubicBezTo>
                <a:close/>
                <a:moveTo>
                  <a:pt x="476008" y="80861"/>
                </a:moveTo>
                <a:cubicBezTo>
                  <a:pt x="470398" y="80861"/>
                  <a:pt x="465855" y="85394"/>
                  <a:pt x="465855" y="90994"/>
                </a:cubicBezTo>
                <a:cubicBezTo>
                  <a:pt x="465855" y="96593"/>
                  <a:pt x="470398" y="101126"/>
                  <a:pt x="476008" y="101126"/>
                </a:cubicBezTo>
                <a:cubicBezTo>
                  <a:pt x="481530" y="101126"/>
                  <a:pt x="486072" y="96593"/>
                  <a:pt x="486072" y="90994"/>
                </a:cubicBezTo>
                <a:cubicBezTo>
                  <a:pt x="486072" y="85394"/>
                  <a:pt x="481530" y="80861"/>
                  <a:pt x="476008" y="80861"/>
                </a:cubicBezTo>
                <a:close/>
                <a:moveTo>
                  <a:pt x="394910" y="80861"/>
                </a:moveTo>
                <a:cubicBezTo>
                  <a:pt x="389388" y="80861"/>
                  <a:pt x="384846" y="85394"/>
                  <a:pt x="384846" y="90994"/>
                </a:cubicBezTo>
                <a:cubicBezTo>
                  <a:pt x="384846" y="96593"/>
                  <a:pt x="389388" y="101126"/>
                  <a:pt x="394910" y="101126"/>
                </a:cubicBezTo>
                <a:cubicBezTo>
                  <a:pt x="400520" y="101126"/>
                  <a:pt x="405062" y="96593"/>
                  <a:pt x="405062" y="90994"/>
                </a:cubicBezTo>
                <a:cubicBezTo>
                  <a:pt x="405062" y="85394"/>
                  <a:pt x="400520" y="80861"/>
                  <a:pt x="394910" y="80861"/>
                </a:cubicBezTo>
                <a:close/>
                <a:moveTo>
                  <a:pt x="476008" y="60686"/>
                </a:moveTo>
                <a:cubicBezTo>
                  <a:pt x="492751" y="60686"/>
                  <a:pt x="506377" y="74284"/>
                  <a:pt x="506377" y="90994"/>
                </a:cubicBezTo>
                <a:cubicBezTo>
                  <a:pt x="506377" y="107703"/>
                  <a:pt x="492751" y="121302"/>
                  <a:pt x="476008" y="121302"/>
                </a:cubicBezTo>
                <a:cubicBezTo>
                  <a:pt x="459176" y="121302"/>
                  <a:pt x="445550" y="107703"/>
                  <a:pt x="445550" y="90994"/>
                </a:cubicBezTo>
                <a:cubicBezTo>
                  <a:pt x="445550" y="74284"/>
                  <a:pt x="459176" y="60686"/>
                  <a:pt x="476008" y="60686"/>
                </a:cubicBezTo>
                <a:close/>
                <a:moveTo>
                  <a:pt x="394910" y="60686"/>
                </a:moveTo>
                <a:cubicBezTo>
                  <a:pt x="411742" y="60686"/>
                  <a:pt x="425368" y="74284"/>
                  <a:pt x="425368" y="90994"/>
                </a:cubicBezTo>
                <a:cubicBezTo>
                  <a:pt x="425368" y="107703"/>
                  <a:pt x="411742" y="121302"/>
                  <a:pt x="394910" y="121302"/>
                </a:cubicBezTo>
                <a:cubicBezTo>
                  <a:pt x="378167" y="121302"/>
                  <a:pt x="364541" y="107703"/>
                  <a:pt x="364541" y="90994"/>
                </a:cubicBezTo>
                <a:cubicBezTo>
                  <a:pt x="364541" y="74284"/>
                  <a:pt x="378167" y="60686"/>
                  <a:pt x="394910" y="60686"/>
                </a:cubicBezTo>
                <a:close/>
                <a:moveTo>
                  <a:pt x="50644" y="0"/>
                </a:moveTo>
                <a:lnTo>
                  <a:pt x="556995" y="0"/>
                </a:lnTo>
                <a:cubicBezTo>
                  <a:pt x="582985" y="0"/>
                  <a:pt x="607639" y="24528"/>
                  <a:pt x="607639" y="50567"/>
                </a:cubicBezTo>
                <a:lnTo>
                  <a:pt x="607639" y="384277"/>
                </a:lnTo>
                <a:cubicBezTo>
                  <a:pt x="607639" y="389787"/>
                  <a:pt x="603100" y="394320"/>
                  <a:pt x="597493" y="394320"/>
                </a:cubicBezTo>
                <a:cubicBezTo>
                  <a:pt x="591885" y="394320"/>
                  <a:pt x="587346" y="389787"/>
                  <a:pt x="587346" y="384277"/>
                </a:cubicBezTo>
                <a:lnTo>
                  <a:pt x="587346" y="50567"/>
                </a:lnTo>
                <a:cubicBezTo>
                  <a:pt x="587346" y="35815"/>
                  <a:pt x="571770" y="20262"/>
                  <a:pt x="556995" y="20262"/>
                </a:cubicBezTo>
                <a:lnTo>
                  <a:pt x="50644" y="20262"/>
                </a:lnTo>
                <a:cubicBezTo>
                  <a:pt x="35869" y="20262"/>
                  <a:pt x="20293" y="35815"/>
                  <a:pt x="20293" y="50567"/>
                </a:cubicBezTo>
                <a:lnTo>
                  <a:pt x="20293" y="131440"/>
                </a:lnTo>
                <a:cubicBezTo>
                  <a:pt x="20293" y="137039"/>
                  <a:pt x="15754" y="141571"/>
                  <a:pt x="10146" y="141571"/>
                </a:cubicBezTo>
                <a:cubicBezTo>
                  <a:pt x="4539" y="141571"/>
                  <a:pt x="0" y="137039"/>
                  <a:pt x="0" y="131440"/>
                </a:cubicBezTo>
                <a:lnTo>
                  <a:pt x="0" y="50567"/>
                </a:lnTo>
                <a:cubicBezTo>
                  <a:pt x="0" y="24528"/>
                  <a:pt x="24565" y="0"/>
                  <a:pt x="50644" y="0"/>
                </a:cubicBezTo>
                <a:close/>
              </a:path>
            </a:pathLst>
          </a:custGeom>
          <a:solidFill>
            <a:srgbClr val="F05A23"/>
          </a:solidFill>
          <a:ln>
            <a:solidFill>
              <a:srgbClr val="F05A23"/>
            </a:solidFill>
          </a:ln>
        </p:spPr>
      </p:sp>
      <p:sp>
        <p:nvSpPr>
          <p:cNvPr id="90" name="server_182394"/>
          <p:cNvSpPr>
            <a:spLocks noChangeAspect="1"/>
          </p:cNvSpPr>
          <p:nvPr/>
        </p:nvSpPr>
        <p:spPr bwMode="auto">
          <a:xfrm>
            <a:off x="5791970" y="4215645"/>
            <a:ext cx="306463" cy="306000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607639" h="606722">
                <a:moveTo>
                  <a:pt x="486081" y="475259"/>
                </a:moveTo>
                <a:cubicBezTo>
                  <a:pt x="497298" y="475259"/>
                  <a:pt x="506378" y="484329"/>
                  <a:pt x="506378" y="495443"/>
                </a:cubicBezTo>
                <a:cubicBezTo>
                  <a:pt x="506378" y="502912"/>
                  <a:pt x="502283" y="509403"/>
                  <a:pt x="496230" y="512871"/>
                </a:cubicBezTo>
                <a:lnTo>
                  <a:pt x="496230" y="535900"/>
                </a:lnTo>
                <a:cubicBezTo>
                  <a:pt x="496230" y="541502"/>
                  <a:pt x="491690" y="546036"/>
                  <a:pt x="486081" y="546036"/>
                </a:cubicBezTo>
                <a:cubicBezTo>
                  <a:pt x="480562" y="546036"/>
                  <a:pt x="476022" y="541502"/>
                  <a:pt x="476022" y="535900"/>
                </a:cubicBezTo>
                <a:lnTo>
                  <a:pt x="476022" y="512871"/>
                </a:lnTo>
                <a:cubicBezTo>
                  <a:pt x="469968" y="509403"/>
                  <a:pt x="465873" y="502912"/>
                  <a:pt x="465873" y="495443"/>
                </a:cubicBezTo>
                <a:cubicBezTo>
                  <a:pt x="465873" y="484329"/>
                  <a:pt x="474953" y="475259"/>
                  <a:pt x="486081" y="475259"/>
                </a:cubicBezTo>
                <a:close/>
                <a:moveTo>
                  <a:pt x="415190" y="424698"/>
                </a:moveTo>
                <a:cubicBezTo>
                  <a:pt x="398455" y="424698"/>
                  <a:pt x="384836" y="438297"/>
                  <a:pt x="384836" y="455006"/>
                </a:cubicBezTo>
                <a:lnTo>
                  <a:pt x="384836" y="556150"/>
                </a:lnTo>
                <a:cubicBezTo>
                  <a:pt x="384836" y="572859"/>
                  <a:pt x="398455" y="586458"/>
                  <a:pt x="415190" y="586458"/>
                </a:cubicBezTo>
                <a:lnTo>
                  <a:pt x="556990" y="586458"/>
                </a:lnTo>
                <a:cubicBezTo>
                  <a:pt x="573725" y="586458"/>
                  <a:pt x="587344" y="572859"/>
                  <a:pt x="587344" y="556150"/>
                </a:cubicBezTo>
                <a:lnTo>
                  <a:pt x="587344" y="455006"/>
                </a:lnTo>
                <a:cubicBezTo>
                  <a:pt x="587344" y="438297"/>
                  <a:pt x="573725" y="424698"/>
                  <a:pt x="556990" y="424698"/>
                </a:cubicBezTo>
                <a:close/>
                <a:moveTo>
                  <a:pt x="111409" y="404481"/>
                </a:moveTo>
                <a:lnTo>
                  <a:pt x="293724" y="404481"/>
                </a:lnTo>
                <a:cubicBezTo>
                  <a:pt x="299244" y="404481"/>
                  <a:pt x="303784" y="409011"/>
                  <a:pt x="303784" y="414607"/>
                </a:cubicBezTo>
                <a:cubicBezTo>
                  <a:pt x="303784" y="420203"/>
                  <a:pt x="299244" y="424733"/>
                  <a:pt x="293724" y="424733"/>
                </a:cubicBezTo>
                <a:lnTo>
                  <a:pt x="111409" y="424733"/>
                </a:lnTo>
                <a:cubicBezTo>
                  <a:pt x="105801" y="424733"/>
                  <a:pt x="101261" y="420203"/>
                  <a:pt x="101261" y="414607"/>
                </a:cubicBezTo>
                <a:cubicBezTo>
                  <a:pt x="101261" y="409011"/>
                  <a:pt x="105801" y="404481"/>
                  <a:pt x="111409" y="404481"/>
                </a:cubicBezTo>
                <a:close/>
                <a:moveTo>
                  <a:pt x="10146" y="323613"/>
                </a:moveTo>
                <a:lnTo>
                  <a:pt x="394900" y="323613"/>
                </a:lnTo>
                <a:cubicBezTo>
                  <a:pt x="400507" y="323613"/>
                  <a:pt x="405046" y="328145"/>
                  <a:pt x="405046" y="333743"/>
                </a:cubicBezTo>
                <a:cubicBezTo>
                  <a:pt x="405046" y="339252"/>
                  <a:pt x="400507" y="343784"/>
                  <a:pt x="394900" y="343784"/>
                </a:cubicBezTo>
                <a:lnTo>
                  <a:pt x="20292" y="343784"/>
                </a:lnTo>
                <a:lnTo>
                  <a:pt x="20292" y="455039"/>
                </a:lnTo>
                <a:cubicBezTo>
                  <a:pt x="20292" y="469790"/>
                  <a:pt x="35867" y="485341"/>
                  <a:pt x="50642" y="485341"/>
                </a:cubicBezTo>
                <a:lnTo>
                  <a:pt x="334201" y="485341"/>
                </a:lnTo>
                <a:cubicBezTo>
                  <a:pt x="339719" y="485341"/>
                  <a:pt x="344258" y="489873"/>
                  <a:pt x="344258" y="495471"/>
                </a:cubicBezTo>
                <a:cubicBezTo>
                  <a:pt x="344258" y="501069"/>
                  <a:pt x="339719" y="505601"/>
                  <a:pt x="334201" y="505601"/>
                </a:cubicBezTo>
                <a:lnTo>
                  <a:pt x="50642" y="505601"/>
                </a:lnTo>
                <a:cubicBezTo>
                  <a:pt x="24564" y="505601"/>
                  <a:pt x="0" y="480987"/>
                  <a:pt x="0" y="455039"/>
                </a:cubicBezTo>
                <a:lnTo>
                  <a:pt x="0" y="333743"/>
                </a:lnTo>
                <a:cubicBezTo>
                  <a:pt x="0" y="328145"/>
                  <a:pt x="4539" y="323613"/>
                  <a:pt x="10146" y="323613"/>
                </a:cubicBezTo>
                <a:close/>
                <a:moveTo>
                  <a:pt x="486046" y="323554"/>
                </a:moveTo>
                <a:cubicBezTo>
                  <a:pt x="463703" y="323554"/>
                  <a:pt x="445544" y="341685"/>
                  <a:pt x="445544" y="363994"/>
                </a:cubicBezTo>
                <a:lnTo>
                  <a:pt x="445544" y="404434"/>
                </a:lnTo>
                <a:lnTo>
                  <a:pt x="526547" y="404434"/>
                </a:lnTo>
                <a:lnTo>
                  <a:pt x="526547" y="363994"/>
                </a:lnTo>
                <a:cubicBezTo>
                  <a:pt x="526547" y="341685"/>
                  <a:pt x="508388" y="323554"/>
                  <a:pt x="486046" y="323554"/>
                </a:cubicBezTo>
                <a:close/>
                <a:moveTo>
                  <a:pt x="486046" y="303290"/>
                </a:moveTo>
                <a:cubicBezTo>
                  <a:pt x="519604" y="303290"/>
                  <a:pt x="546842" y="330576"/>
                  <a:pt x="546842" y="363994"/>
                </a:cubicBezTo>
                <a:lnTo>
                  <a:pt x="546842" y="404434"/>
                </a:lnTo>
                <a:lnTo>
                  <a:pt x="556990" y="404434"/>
                </a:lnTo>
                <a:cubicBezTo>
                  <a:pt x="584852" y="404434"/>
                  <a:pt x="607639" y="427098"/>
                  <a:pt x="607639" y="455006"/>
                </a:cubicBezTo>
                <a:lnTo>
                  <a:pt x="607639" y="556150"/>
                </a:lnTo>
                <a:cubicBezTo>
                  <a:pt x="607639" y="583969"/>
                  <a:pt x="584852" y="606722"/>
                  <a:pt x="556990" y="606722"/>
                </a:cubicBezTo>
                <a:lnTo>
                  <a:pt x="415190" y="606722"/>
                </a:lnTo>
                <a:cubicBezTo>
                  <a:pt x="387239" y="606722"/>
                  <a:pt x="364541" y="583969"/>
                  <a:pt x="364541" y="556150"/>
                </a:cubicBezTo>
                <a:lnTo>
                  <a:pt x="364541" y="455006"/>
                </a:lnTo>
                <a:cubicBezTo>
                  <a:pt x="364541" y="427098"/>
                  <a:pt x="387239" y="404434"/>
                  <a:pt x="415190" y="404434"/>
                </a:cubicBezTo>
                <a:lnTo>
                  <a:pt x="425338" y="404434"/>
                </a:lnTo>
                <a:lnTo>
                  <a:pt x="425338" y="363994"/>
                </a:lnTo>
                <a:cubicBezTo>
                  <a:pt x="425338" y="330576"/>
                  <a:pt x="452576" y="303290"/>
                  <a:pt x="486046" y="303290"/>
                </a:cubicBezTo>
                <a:close/>
                <a:moveTo>
                  <a:pt x="111409" y="242745"/>
                </a:moveTo>
                <a:lnTo>
                  <a:pt x="293724" y="242745"/>
                </a:lnTo>
                <a:cubicBezTo>
                  <a:pt x="299244" y="242745"/>
                  <a:pt x="303784" y="247263"/>
                  <a:pt x="303784" y="252756"/>
                </a:cubicBezTo>
                <a:cubicBezTo>
                  <a:pt x="303784" y="258337"/>
                  <a:pt x="299244" y="262856"/>
                  <a:pt x="293724" y="262856"/>
                </a:cubicBezTo>
                <a:lnTo>
                  <a:pt x="111409" y="262856"/>
                </a:lnTo>
                <a:cubicBezTo>
                  <a:pt x="105801" y="262856"/>
                  <a:pt x="101261" y="258337"/>
                  <a:pt x="101261" y="252756"/>
                </a:cubicBezTo>
                <a:cubicBezTo>
                  <a:pt x="101261" y="247263"/>
                  <a:pt x="105801" y="242745"/>
                  <a:pt x="111409" y="242745"/>
                </a:cubicBezTo>
                <a:close/>
                <a:moveTo>
                  <a:pt x="476008" y="242704"/>
                </a:moveTo>
                <a:cubicBezTo>
                  <a:pt x="470398" y="242704"/>
                  <a:pt x="465855" y="247240"/>
                  <a:pt x="465855" y="252756"/>
                </a:cubicBezTo>
                <a:cubicBezTo>
                  <a:pt x="465855" y="258360"/>
                  <a:pt x="470398" y="262897"/>
                  <a:pt x="476008" y="262897"/>
                </a:cubicBezTo>
                <a:cubicBezTo>
                  <a:pt x="481530" y="262897"/>
                  <a:pt x="486072" y="258360"/>
                  <a:pt x="486072" y="252756"/>
                </a:cubicBezTo>
                <a:cubicBezTo>
                  <a:pt x="486072" y="247240"/>
                  <a:pt x="481530" y="242704"/>
                  <a:pt x="476008" y="242704"/>
                </a:cubicBezTo>
                <a:close/>
                <a:moveTo>
                  <a:pt x="394910" y="242704"/>
                </a:moveTo>
                <a:cubicBezTo>
                  <a:pt x="389388" y="242704"/>
                  <a:pt x="384846" y="247240"/>
                  <a:pt x="384846" y="252756"/>
                </a:cubicBezTo>
                <a:cubicBezTo>
                  <a:pt x="384846" y="258360"/>
                  <a:pt x="389388" y="262897"/>
                  <a:pt x="394910" y="262897"/>
                </a:cubicBezTo>
                <a:cubicBezTo>
                  <a:pt x="400520" y="262897"/>
                  <a:pt x="405062" y="258360"/>
                  <a:pt x="405062" y="252756"/>
                </a:cubicBezTo>
                <a:cubicBezTo>
                  <a:pt x="405062" y="247240"/>
                  <a:pt x="400520" y="242704"/>
                  <a:pt x="394910" y="242704"/>
                </a:cubicBezTo>
                <a:close/>
                <a:moveTo>
                  <a:pt x="476008" y="222422"/>
                </a:moveTo>
                <a:cubicBezTo>
                  <a:pt x="492751" y="222422"/>
                  <a:pt x="506377" y="236032"/>
                  <a:pt x="506377" y="252756"/>
                </a:cubicBezTo>
                <a:cubicBezTo>
                  <a:pt x="506377" y="269568"/>
                  <a:pt x="492751" y="283179"/>
                  <a:pt x="476008" y="283179"/>
                </a:cubicBezTo>
                <a:cubicBezTo>
                  <a:pt x="459176" y="283179"/>
                  <a:pt x="445550" y="269568"/>
                  <a:pt x="445550" y="252756"/>
                </a:cubicBezTo>
                <a:cubicBezTo>
                  <a:pt x="445550" y="236032"/>
                  <a:pt x="459176" y="222422"/>
                  <a:pt x="476008" y="222422"/>
                </a:cubicBezTo>
                <a:close/>
                <a:moveTo>
                  <a:pt x="394910" y="222422"/>
                </a:moveTo>
                <a:cubicBezTo>
                  <a:pt x="411742" y="222422"/>
                  <a:pt x="425368" y="236032"/>
                  <a:pt x="425368" y="252756"/>
                </a:cubicBezTo>
                <a:cubicBezTo>
                  <a:pt x="425368" y="269568"/>
                  <a:pt x="411742" y="283179"/>
                  <a:pt x="394910" y="283179"/>
                </a:cubicBezTo>
                <a:cubicBezTo>
                  <a:pt x="378167" y="283179"/>
                  <a:pt x="364541" y="269568"/>
                  <a:pt x="364541" y="252756"/>
                </a:cubicBezTo>
                <a:cubicBezTo>
                  <a:pt x="364541" y="236032"/>
                  <a:pt x="378167" y="222422"/>
                  <a:pt x="394910" y="222422"/>
                </a:cubicBezTo>
                <a:close/>
                <a:moveTo>
                  <a:pt x="10146" y="161736"/>
                </a:moveTo>
                <a:lnTo>
                  <a:pt x="556988" y="161736"/>
                </a:lnTo>
                <a:cubicBezTo>
                  <a:pt x="562595" y="161736"/>
                  <a:pt x="567134" y="166268"/>
                  <a:pt x="567134" y="171866"/>
                </a:cubicBezTo>
                <a:cubicBezTo>
                  <a:pt x="567134" y="177464"/>
                  <a:pt x="562595" y="181996"/>
                  <a:pt x="556988" y="181996"/>
                </a:cubicBezTo>
                <a:lnTo>
                  <a:pt x="20293" y="181996"/>
                </a:lnTo>
                <a:lnTo>
                  <a:pt x="20293" y="293249"/>
                </a:lnTo>
                <a:cubicBezTo>
                  <a:pt x="20293" y="298758"/>
                  <a:pt x="15753" y="303290"/>
                  <a:pt x="10146" y="303290"/>
                </a:cubicBezTo>
                <a:cubicBezTo>
                  <a:pt x="4539" y="303290"/>
                  <a:pt x="0" y="298758"/>
                  <a:pt x="0" y="293249"/>
                </a:cubicBezTo>
                <a:lnTo>
                  <a:pt x="0" y="171866"/>
                </a:lnTo>
                <a:cubicBezTo>
                  <a:pt x="0" y="166268"/>
                  <a:pt x="4539" y="161736"/>
                  <a:pt x="10146" y="161736"/>
                </a:cubicBezTo>
                <a:close/>
                <a:moveTo>
                  <a:pt x="111409" y="80868"/>
                </a:moveTo>
                <a:lnTo>
                  <a:pt x="293724" y="80868"/>
                </a:lnTo>
                <a:cubicBezTo>
                  <a:pt x="299244" y="80868"/>
                  <a:pt x="303784" y="85398"/>
                  <a:pt x="303784" y="90994"/>
                </a:cubicBezTo>
                <a:cubicBezTo>
                  <a:pt x="303784" y="96590"/>
                  <a:pt x="299244" y="101120"/>
                  <a:pt x="293724" y="101120"/>
                </a:cubicBezTo>
                <a:lnTo>
                  <a:pt x="111409" y="101120"/>
                </a:lnTo>
                <a:cubicBezTo>
                  <a:pt x="105801" y="101120"/>
                  <a:pt x="101261" y="96590"/>
                  <a:pt x="101261" y="90994"/>
                </a:cubicBezTo>
                <a:cubicBezTo>
                  <a:pt x="101261" y="85398"/>
                  <a:pt x="105801" y="80868"/>
                  <a:pt x="111409" y="80868"/>
                </a:cubicBezTo>
                <a:close/>
                <a:moveTo>
                  <a:pt x="476008" y="80861"/>
                </a:moveTo>
                <a:cubicBezTo>
                  <a:pt x="470398" y="80861"/>
                  <a:pt x="465855" y="85394"/>
                  <a:pt x="465855" y="90994"/>
                </a:cubicBezTo>
                <a:cubicBezTo>
                  <a:pt x="465855" y="96593"/>
                  <a:pt x="470398" y="101126"/>
                  <a:pt x="476008" y="101126"/>
                </a:cubicBezTo>
                <a:cubicBezTo>
                  <a:pt x="481530" y="101126"/>
                  <a:pt x="486072" y="96593"/>
                  <a:pt x="486072" y="90994"/>
                </a:cubicBezTo>
                <a:cubicBezTo>
                  <a:pt x="486072" y="85394"/>
                  <a:pt x="481530" y="80861"/>
                  <a:pt x="476008" y="80861"/>
                </a:cubicBezTo>
                <a:close/>
                <a:moveTo>
                  <a:pt x="394910" y="80861"/>
                </a:moveTo>
                <a:cubicBezTo>
                  <a:pt x="389388" y="80861"/>
                  <a:pt x="384846" y="85394"/>
                  <a:pt x="384846" y="90994"/>
                </a:cubicBezTo>
                <a:cubicBezTo>
                  <a:pt x="384846" y="96593"/>
                  <a:pt x="389388" y="101126"/>
                  <a:pt x="394910" y="101126"/>
                </a:cubicBezTo>
                <a:cubicBezTo>
                  <a:pt x="400520" y="101126"/>
                  <a:pt x="405062" y="96593"/>
                  <a:pt x="405062" y="90994"/>
                </a:cubicBezTo>
                <a:cubicBezTo>
                  <a:pt x="405062" y="85394"/>
                  <a:pt x="400520" y="80861"/>
                  <a:pt x="394910" y="80861"/>
                </a:cubicBezTo>
                <a:close/>
                <a:moveTo>
                  <a:pt x="476008" y="60686"/>
                </a:moveTo>
                <a:cubicBezTo>
                  <a:pt x="492751" y="60686"/>
                  <a:pt x="506377" y="74284"/>
                  <a:pt x="506377" y="90994"/>
                </a:cubicBezTo>
                <a:cubicBezTo>
                  <a:pt x="506377" y="107703"/>
                  <a:pt x="492751" y="121302"/>
                  <a:pt x="476008" y="121302"/>
                </a:cubicBezTo>
                <a:cubicBezTo>
                  <a:pt x="459176" y="121302"/>
                  <a:pt x="445550" y="107703"/>
                  <a:pt x="445550" y="90994"/>
                </a:cubicBezTo>
                <a:cubicBezTo>
                  <a:pt x="445550" y="74284"/>
                  <a:pt x="459176" y="60686"/>
                  <a:pt x="476008" y="60686"/>
                </a:cubicBezTo>
                <a:close/>
                <a:moveTo>
                  <a:pt x="394910" y="60686"/>
                </a:moveTo>
                <a:cubicBezTo>
                  <a:pt x="411742" y="60686"/>
                  <a:pt x="425368" y="74284"/>
                  <a:pt x="425368" y="90994"/>
                </a:cubicBezTo>
                <a:cubicBezTo>
                  <a:pt x="425368" y="107703"/>
                  <a:pt x="411742" y="121302"/>
                  <a:pt x="394910" y="121302"/>
                </a:cubicBezTo>
                <a:cubicBezTo>
                  <a:pt x="378167" y="121302"/>
                  <a:pt x="364541" y="107703"/>
                  <a:pt x="364541" y="90994"/>
                </a:cubicBezTo>
                <a:cubicBezTo>
                  <a:pt x="364541" y="74284"/>
                  <a:pt x="378167" y="60686"/>
                  <a:pt x="394910" y="60686"/>
                </a:cubicBezTo>
                <a:close/>
                <a:moveTo>
                  <a:pt x="50644" y="0"/>
                </a:moveTo>
                <a:lnTo>
                  <a:pt x="556995" y="0"/>
                </a:lnTo>
                <a:cubicBezTo>
                  <a:pt x="582985" y="0"/>
                  <a:pt x="607639" y="24528"/>
                  <a:pt x="607639" y="50567"/>
                </a:cubicBezTo>
                <a:lnTo>
                  <a:pt x="607639" y="384277"/>
                </a:lnTo>
                <a:cubicBezTo>
                  <a:pt x="607639" y="389787"/>
                  <a:pt x="603100" y="394320"/>
                  <a:pt x="597493" y="394320"/>
                </a:cubicBezTo>
                <a:cubicBezTo>
                  <a:pt x="591885" y="394320"/>
                  <a:pt x="587346" y="389787"/>
                  <a:pt x="587346" y="384277"/>
                </a:cubicBezTo>
                <a:lnTo>
                  <a:pt x="587346" y="50567"/>
                </a:lnTo>
                <a:cubicBezTo>
                  <a:pt x="587346" y="35815"/>
                  <a:pt x="571770" y="20262"/>
                  <a:pt x="556995" y="20262"/>
                </a:cubicBezTo>
                <a:lnTo>
                  <a:pt x="50644" y="20262"/>
                </a:lnTo>
                <a:cubicBezTo>
                  <a:pt x="35869" y="20262"/>
                  <a:pt x="20293" y="35815"/>
                  <a:pt x="20293" y="50567"/>
                </a:cubicBezTo>
                <a:lnTo>
                  <a:pt x="20293" y="131440"/>
                </a:lnTo>
                <a:cubicBezTo>
                  <a:pt x="20293" y="137039"/>
                  <a:pt x="15754" y="141571"/>
                  <a:pt x="10146" y="141571"/>
                </a:cubicBezTo>
                <a:cubicBezTo>
                  <a:pt x="4539" y="141571"/>
                  <a:pt x="0" y="137039"/>
                  <a:pt x="0" y="131440"/>
                </a:cubicBezTo>
                <a:lnTo>
                  <a:pt x="0" y="50567"/>
                </a:lnTo>
                <a:cubicBezTo>
                  <a:pt x="0" y="24528"/>
                  <a:pt x="24565" y="0"/>
                  <a:pt x="50644" y="0"/>
                </a:cubicBezTo>
                <a:close/>
              </a:path>
            </a:pathLst>
          </a:custGeom>
          <a:solidFill>
            <a:srgbClr val="F05A23"/>
          </a:solidFill>
          <a:ln>
            <a:solidFill>
              <a:srgbClr val="F05A23"/>
            </a:solidFill>
          </a:ln>
        </p:spPr>
      </p:sp>
      <p:sp>
        <p:nvSpPr>
          <p:cNvPr id="91" name="server_182394"/>
          <p:cNvSpPr>
            <a:spLocks noChangeAspect="1"/>
          </p:cNvSpPr>
          <p:nvPr/>
        </p:nvSpPr>
        <p:spPr bwMode="auto">
          <a:xfrm>
            <a:off x="5399843" y="4215645"/>
            <a:ext cx="305240" cy="304779"/>
          </a:xfrm>
          <a:custGeom>
            <a:avLst/>
            <a:gdLst>
              <a:gd name="connsiteX0" fmla="*/ 325000 h 606722"/>
              <a:gd name="connsiteY0" fmla="*/ 325000 h 606722"/>
              <a:gd name="connsiteX1" fmla="*/ 325000 h 606722"/>
              <a:gd name="connsiteY1" fmla="*/ 325000 h 606722"/>
              <a:gd name="connsiteX2" fmla="*/ 325000 h 606722"/>
              <a:gd name="connsiteY2" fmla="*/ 325000 h 606722"/>
              <a:gd name="connsiteX3" fmla="*/ 325000 h 606722"/>
              <a:gd name="connsiteY3" fmla="*/ 325000 h 606722"/>
              <a:gd name="connsiteX4" fmla="*/ 325000 h 606722"/>
              <a:gd name="connsiteY4" fmla="*/ 325000 h 606722"/>
              <a:gd name="connsiteX5" fmla="*/ 325000 h 606722"/>
              <a:gd name="connsiteY5" fmla="*/ 325000 h 606722"/>
              <a:gd name="connsiteX6" fmla="*/ 325000 h 606722"/>
              <a:gd name="connsiteY6" fmla="*/ 325000 h 606722"/>
              <a:gd name="connsiteX7" fmla="*/ 325000 h 606722"/>
              <a:gd name="connsiteY7" fmla="*/ 325000 h 606722"/>
              <a:gd name="connsiteX8" fmla="*/ 325000 h 606722"/>
              <a:gd name="connsiteY8" fmla="*/ 325000 h 606722"/>
              <a:gd name="connsiteX9" fmla="*/ 325000 h 606722"/>
              <a:gd name="connsiteY9" fmla="*/ 325000 h 606722"/>
              <a:gd name="connsiteX10" fmla="*/ 325000 h 606722"/>
              <a:gd name="connsiteY10" fmla="*/ 325000 h 606722"/>
              <a:gd name="connsiteX11" fmla="*/ 325000 h 606722"/>
              <a:gd name="connsiteY11" fmla="*/ 325000 h 606722"/>
              <a:gd name="connsiteX12" fmla="*/ 325000 h 606722"/>
              <a:gd name="connsiteY12" fmla="*/ 325000 h 606722"/>
              <a:gd name="connsiteX13" fmla="*/ 325000 h 606722"/>
              <a:gd name="connsiteY13" fmla="*/ 325000 h 606722"/>
              <a:gd name="connsiteX14" fmla="*/ 325000 h 606722"/>
              <a:gd name="connsiteY14" fmla="*/ 325000 h 606722"/>
              <a:gd name="connsiteX15" fmla="*/ 325000 h 606722"/>
              <a:gd name="connsiteY15" fmla="*/ 325000 h 606722"/>
              <a:gd name="connsiteX16" fmla="*/ 325000 h 606722"/>
              <a:gd name="connsiteY16" fmla="*/ 325000 h 606722"/>
              <a:gd name="connsiteX17" fmla="*/ 325000 h 606722"/>
              <a:gd name="connsiteY17" fmla="*/ 325000 h 606722"/>
              <a:gd name="connsiteX18" fmla="*/ 325000 h 606722"/>
              <a:gd name="connsiteY18" fmla="*/ 325000 h 606722"/>
              <a:gd name="connsiteX19" fmla="*/ 325000 h 606722"/>
              <a:gd name="connsiteY19" fmla="*/ 325000 h 606722"/>
              <a:gd name="connsiteX20" fmla="*/ 325000 h 606722"/>
              <a:gd name="connsiteY20" fmla="*/ 325000 h 606722"/>
              <a:gd name="connsiteX21" fmla="*/ 325000 h 606722"/>
              <a:gd name="connsiteY21" fmla="*/ 325000 h 606722"/>
              <a:gd name="connsiteX22" fmla="*/ 325000 h 606722"/>
              <a:gd name="connsiteY22" fmla="*/ 325000 h 606722"/>
              <a:gd name="connsiteX23" fmla="*/ 325000 h 606722"/>
              <a:gd name="connsiteY23" fmla="*/ 325000 h 606722"/>
              <a:gd name="connsiteX24" fmla="*/ 325000 h 606722"/>
              <a:gd name="connsiteY24" fmla="*/ 325000 h 606722"/>
              <a:gd name="connsiteX25" fmla="*/ 325000 h 606722"/>
              <a:gd name="connsiteY25" fmla="*/ 325000 h 606722"/>
              <a:gd name="connsiteX26" fmla="*/ 325000 h 606722"/>
              <a:gd name="connsiteY26" fmla="*/ 325000 h 606722"/>
              <a:gd name="connsiteX27" fmla="*/ 325000 h 606722"/>
              <a:gd name="connsiteY27" fmla="*/ 325000 h 606722"/>
              <a:gd name="connsiteX28" fmla="*/ 325000 h 606722"/>
              <a:gd name="connsiteY28" fmla="*/ 325000 h 606722"/>
              <a:gd name="connsiteX29" fmla="*/ 325000 h 606722"/>
              <a:gd name="connsiteY29" fmla="*/ 325000 h 606722"/>
              <a:gd name="connsiteX30" fmla="*/ 325000 h 606722"/>
              <a:gd name="connsiteY30" fmla="*/ 325000 h 606722"/>
              <a:gd name="connsiteX31" fmla="*/ 325000 h 606722"/>
              <a:gd name="connsiteY31" fmla="*/ 325000 h 606722"/>
              <a:gd name="connsiteX32" fmla="*/ 325000 h 606722"/>
              <a:gd name="connsiteY32" fmla="*/ 325000 h 606722"/>
              <a:gd name="connsiteX33" fmla="*/ 325000 h 606722"/>
              <a:gd name="connsiteY33" fmla="*/ 325000 h 606722"/>
              <a:gd name="connsiteX34" fmla="*/ 325000 h 606722"/>
              <a:gd name="connsiteY34" fmla="*/ 325000 h 606722"/>
              <a:gd name="connsiteX35" fmla="*/ 325000 h 606722"/>
              <a:gd name="connsiteY35" fmla="*/ 325000 h 606722"/>
              <a:gd name="connsiteX36" fmla="*/ 325000 h 606722"/>
              <a:gd name="connsiteY36" fmla="*/ 325000 h 606722"/>
              <a:gd name="connsiteX37" fmla="*/ 325000 h 606722"/>
              <a:gd name="connsiteY37" fmla="*/ 325000 h 606722"/>
              <a:gd name="connsiteX38" fmla="*/ 325000 h 606722"/>
              <a:gd name="connsiteY38" fmla="*/ 325000 h 606722"/>
              <a:gd name="connsiteX39" fmla="*/ 325000 h 606722"/>
              <a:gd name="connsiteY39" fmla="*/ 325000 h 606722"/>
              <a:gd name="connsiteX40" fmla="*/ 325000 h 606722"/>
              <a:gd name="connsiteY40" fmla="*/ 325000 h 606722"/>
              <a:gd name="connsiteX41" fmla="*/ 325000 h 606722"/>
              <a:gd name="connsiteY41" fmla="*/ 325000 h 606722"/>
              <a:gd name="connsiteX42" fmla="*/ 325000 h 606722"/>
              <a:gd name="connsiteY42" fmla="*/ 325000 h 606722"/>
              <a:gd name="connsiteX43" fmla="*/ 325000 h 606722"/>
              <a:gd name="connsiteY43" fmla="*/ 325000 h 606722"/>
              <a:gd name="connsiteX44" fmla="*/ 325000 h 606722"/>
              <a:gd name="connsiteY44" fmla="*/ 325000 h 606722"/>
              <a:gd name="connsiteX45" fmla="*/ 325000 h 606722"/>
              <a:gd name="connsiteY45" fmla="*/ 325000 h 606722"/>
              <a:gd name="connsiteX46" fmla="*/ 325000 h 606722"/>
              <a:gd name="connsiteY46" fmla="*/ 325000 h 606722"/>
              <a:gd name="connsiteX47" fmla="*/ 325000 h 606722"/>
              <a:gd name="connsiteY47" fmla="*/ 325000 h 606722"/>
              <a:gd name="connsiteX48" fmla="*/ 325000 h 606722"/>
              <a:gd name="connsiteY48" fmla="*/ 325000 h 606722"/>
              <a:gd name="connsiteX49" fmla="*/ 325000 h 606722"/>
              <a:gd name="connsiteY49" fmla="*/ 325000 h 606722"/>
              <a:gd name="connsiteX50" fmla="*/ 325000 h 606722"/>
              <a:gd name="connsiteY50" fmla="*/ 325000 h 606722"/>
              <a:gd name="connsiteX51" fmla="*/ 325000 h 606722"/>
              <a:gd name="connsiteY51" fmla="*/ 325000 h 606722"/>
              <a:gd name="connsiteX52" fmla="*/ 325000 h 606722"/>
              <a:gd name="connsiteY52" fmla="*/ 325000 h 606722"/>
              <a:gd name="connsiteX53" fmla="*/ 325000 h 606722"/>
              <a:gd name="connsiteY53" fmla="*/ 325000 h 606722"/>
              <a:gd name="connsiteX54" fmla="*/ 325000 h 606722"/>
              <a:gd name="connsiteY54" fmla="*/ 325000 h 606722"/>
              <a:gd name="connsiteX55" fmla="*/ 325000 h 606722"/>
              <a:gd name="connsiteY55" fmla="*/ 325000 h 606722"/>
              <a:gd name="connsiteX56" fmla="*/ 325000 h 606722"/>
              <a:gd name="connsiteY56" fmla="*/ 325000 h 606722"/>
              <a:gd name="connsiteX57" fmla="*/ 325000 h 606722"/>
              <a:gd name="connsiteY57" fmla="*/ 325000 h 606722"/>
              <a:gd name="connsiteX58" fmla="*/ 325000 h 606722"/>
              <a:gd name="connsiteY58" fmla="*/ 325000 h 606722"/>
              <a:gd name="connsiteX59" fmla="*/ 325000 h 606722"/>
              <a:gd name="connsiteY59" fmla="*/ 325000 h 606722"/>
              <a:gd name="connsiteX60" fmla="*/ 325000 h 606722"/>
              <a:gd name="connsiteY60" fmla="*/ 325000 h 606722"/>
              <a:gd name="connsiteX61" fmla="*/ 325000 h 606722"/>
              <a:gd name="connsiteY61" fmla="*/ 325000 h 606722"/>
              <a:gd name="connsiteX62" fmla="*/ 325000 h 606722"/>
              <a:gd name="connsiteY62" fmla="*/ 325000 h 606722"/>
              <a:gd name="connsiteX63" fmla="*/ 325000 h 606722"/>
              <a:gd name="connsiteY63" fmla="*/ 325000 h 606722"/>
              <a:gd name="connsiteX64" fmla="*/ 325000 h 606722"/>
              <a:gd name="connsiteY64" fmla="*/ 325000 h 606722"/>
              <a:gd name="connsiteX65" fmla="*/ 325000 h 606722"/>
              <a:gd name="connsiteY65" fmla="*/ 325000 h 606722"/>
              <a:gd name="connsiteX66" fmla="*/ 325000 h 606722"/>
              <a:gd name="connsiteY66" fmla="*/ 325000 h 606722"/>
              <a:gd name="connsiteX67" fmla="*/ 325000 h 606722"/>
              <a:gd name="connsiteY67" fmla="*/ 325000 h 606722"/>
              <a:gd name="connsiteX68" fmla="*/ 325000 h 606722"/>
              <a:gd name="connsiteY68" fmla="*/ 325000 h 606722"/>
              <a:gd name="connsiteX69" fmla="*/ 325000 h 606722"/>
              <a:gd name="connsiteY69" fmla="*/ 325000 h 606722"/>
              <a:gd name="connsiteX70" fmla="*/ 325000 h 606722"/>
              <a:gd name="connsiteY70" fmla="*/ 325000 h 606722"/>
              <a:gd name="connsiteX71" fmla="*/ 325000 h 606722"/>
              <a:gd name="connsiteY71" fmla="*/ 325000 h 606722"/>
              <a:gd name="connsiteX72" fmla="*/ 325000 h 606722"/>
              <a:gd name="connsiteY72" fmla="*/ 325000 h 606722"/>
              <a:gd name="connsiteX73" fmla="*/ 325000 h 606722"/>
              <a:gd name="connsiteY73" fmla="*/ 325000 h 606722"/>
              <a:gd name="connsiteX74" fmla="*/ 325000 h 606722"/>
              <a:gd name="connsiteY74" fmla="*/ 325000 h 606722"/>
              <a:gd name="connsiteX75" fmla="*/ 325000 h 606722"/>
              <a:gd name="connsiteY75" fmla="*/ 325000 h 606722"/>
              <a:gd name="connsiteX76" fmla="*/ 325000 h 606722"/>
              <a:gd name="connsiteY76" fmla="*/ 325000 h 606722"/>
              <a:gd name="connsiteX77" fmla="*/ 325000 h 606722"/>
              <a:gd name="connsiteY77" fmla="*/ 325000 h 606722"/>
              <a:gd name="connsiteX78" fmla="*/ 325000 h 606722"/>
              <a:gd name="connsiteY78" fmla="*/ 325000 h 606722"/>
              <a:gd name="connsiteX79" fmla="*/ 325000 h 606722"/>
              <a:gd name="connsiteY79" fmla="*/ 325000 h 606722"/>
              <a:gd name="connsiteX80" fmla="*/ 325000 h 606722"/>
              <a:gd name="connsiteY80" fmla="*/ 325000 h 606722"/>
              <a:gd name="connsiteX81" fmla="*/ 325000 h 606722"/>
              <a:gd name="connsiteY81" fmla="*/ 325000 h 606722"/>
              <a:gd name="connsiteX82" fmla="*/ 325000 h 606722"/>
              <a:gd name="connsiteY82" fmla="*/ 325000 h 606722"/>
              <a:gd name="connsiteX83" fmla="*/ 325000 h 606722"/>
              <a:gd name="connsiteY83" fmla="*/ 325000 h 606722"/>
              <a:gd name="connsiteX84" fmla="*/ 325000 h 606722"/>
              <a:gd name="connsiteY84" fmla="*/ 325000 h 606722"/>
              <a:gd name="connsiteX85" fmla="*/ 325000 h 606722"/>
              <a:gd name="connsiteY85" fmla="*/ 325000 h 606722"/>
              <a:gd name="connsiteX86" fmla="*/ 325000 h 606722"/>
              <a:gd name="connsiteY86" fmla="*/ 325000 h 606722"/>
              <a:gd name="connsiteX87" fmla="*/ 325000 h 606722"/>
              <a:gd name="connsiteY87" fmla="*/ 325000 h 606722"/>
              <a:gd name="connsiteX88" fmla="*/ 325000 h 606722"/>
              <a:gd name="connsiteY88" fmla="*/ 325000 h 606722"/>
              <a:gd name="connsiteX89" fmla="*/ 325000 h 606722"/>
              <a:gd name="connsiteY89" fmla="*/ 325000 h 606722"/>
              <a:gd name="connsiteX90" fmla="*/ 325000 h 606722"/>
              <a:gd name="connsiteY90" fmla="*/ 325000 h 606722"/>
              <a:gd name="connsiteX91" fmla="*/ 325000 h 606722"/>
              <a:gd name="connsiteY91" fmla="*/ 325000 h 606722"/>
              <a:gd name="connsiteX92" fmla="*/ 325000 h 606722"/>
              <a:gd name="connsiteY92" fmla="*/ 325000 h 606722"/>
              <a:gd name="connsiteX93" fmla="*/ 325000 h 606722"/>
              <a:gd name="connsiteY93" fmla="*/ 325000 h 606722"/>
              <a:gd name="connsiteX94" fmla="*/ 325000 h 606722"/>
              <a:gd name="connsiteY94" fmla="*/ 325000 h 606722"/>
              <a:gd name="connsiteX95" fmla="*/ 325000 h 606722"/>
              <a:gd name="connsiteY95" fmla="*/ 325000 h 606722"/>
              <a:gd name="connsiteX96" fmla="*/ 325000 h 606722"/>
              <a:gd name="connsiteY96" fmla="*/ 325000 h 606722"/>
              <a:gd name="connsiteX97" fmla="*/ 325000 h 606722"/>
              <a:gd name="connsiteY97" fmla="*/ 325000 h 606722"/>
              <a:gd name="connsiteX98" fmla="*/ 325000 h 606722"/>
              <a:gd name="connsiteY98" fmla="*/ 325000 h 606722"/>
              <a:gd name="connsiteX99" fmla="*/ 325000 h 606722"/>
              <a:gd name="connsiteY99" fmla="*/ 325000 h 606722"/>
              <a:gd name="connsiteX100" fmla="*/ 325000 h 606722"/>
              <a:gd name="connsiteY100" fmla="*/ 325000 h 606722"/>
              <a:gd name="connsiteX101" fmla="*/ 325000 h 606722"/>
              <a:gd name="connsiteY101" fmla="*/ 325000 h 606722"/>
              <a:gd name="connsiteX102" fmla="*/ 325000 h 606722"/>
              <a:gd name="connsiteY102" fmla="*/ 325000 h 606722"/>
              <a:gd name="connsiteX103" fmla="*/ 325000 h 606722"/>
              <a:gd name="connsiteY103" fmla="*/ 325000 h 606722"/>
              <a:gd name="connsiteX104" fmla="*/ 325000 h 606722"/>
              <a:gd name="connsiteY104" fmla="*/ 325000 h 606722"/>
              <a:gd name="connsiteX105" fmla="*/ 325000 h 606722"/>
              <a:gd name="connsiteY105" fmla="*/ 325000 h 606722"/>
              <a:gd name="connsiteX106" fmla="*/ 325000 h 606722"/>
              <a:gd name="connsiteY106" fmla="*/ 325000 h 606722"/>
              <a:gd name="connsiteX107" fmla="*/ 325000 h 606722"/>
              <a:gd name="connsiteY107" fmla="*/ 325000 h 606722"/>
              <a:gd name="connsiteX108" fmla="*/ 325000 h 606722"/>
              <a:gd name="connsiteY108" fmla="*/ 325000 h 606722"/>
              <a:gd name="connsiteX109" fmla="*/ 325000 h 606722"/>
              <a:gd name="connsiteY109" fmla="*/ 325000 h 606722"/>
              <a:gd name="connsiteX110" fmla="*/ 325000 h 606722"/>
              <a:gd name="connsiteY110" fmla="*/ 325000 h 606722"/>
              <a:gd name="connsiteX111" fmla="*/ 325000 h 606722"/>
              <a:gd name="connsiteY111" fmla="*/ 325000 h 606722"/>
              <a:gd name="connsiteX112" fmla="*/ 325000 h 606722"/>
              <a:gd name="connsiteY112" fmla="*/ 325000 h 606722"/>
              <a:gd name="connsiteX113" fmla="*/ 325000 h 606722"/>
              <a:gd name="connsiteY113" fmla="*/ 325000 h 606722"/>
              <a:gd name="connsiteX114" fmla="*/ 325000 h 606722"/>
              <a:gd name="connsiteY114" fmla="*/ 325000 h 606722"/>
              <a:gd name="connsiteX115" fmla="*/ 325000 h 606722"/>
              <a:gd name="connsiteY115" fmla="*/ 325000 h 606722"/>
              <a:gd name="connsiteX116" fmla="*/ 325000 h 606722"/>
              <a:gd name="connsiteY116" fmla="*/ 325000 h 606722"/>
              <a:gd name="connsiteX117" fmla="*/ 325000 h 606722"/>
              <a:gd name="connsiteY117" fmla="*/ 325000 h 606722"/>
              <a:gd name="connsiteX118" fmla="*/ 325000 h 606722"/>
              <a:gd name="connsiteY118" fmla="*/ 325000 h 606722"/>
              <a:gd name="connsiteX119" fmla="*/ 325000 h 606722"/>
              <a:gd name="connsiteY119" fmla="*/ 325000 h 606722"/>
              <a:gd name="connsiteX120" fmla="*/ 325000 h 606722"/>
              <a:gd name="connsiteY120" fmla="*/ 325000 h 606722"/>
              <a:gd name="connsiteX121" fmla="*/ 325000 h 606722"/>
              <a:gd name="connsiteY121" fmla="*/ 325000 h 606722"/>
              <a:gd name="connsiteX122" fmla="*/ 325000 h 606722"/>
              <a:gd name="connsiteY122" fmla="*/ 325000 h 606722"/>
              <a:gd name="connsiteX123" fmla="*/ 325000 h 606722"/>
              <a:gd name="connsiteY123" fmla="*/ 325000 h 606722"/>
              <a:gd name="connsiteX124" fmla="*/ 325000 h 606722"/>
              <a:gd name="connsiteY124" fmla="*/ 325000 h 606722"/>
              <a:gd name="connsiteX125" fmla="*/ 325000 h 606722"/>
              <a:gd name="connsiteY125" fmla="*/ 325000 h 606722"/>
              <a:gd name="connsiteX126" fmla="*/ 325000 h 606722"/>
              <a:gd name="connsiteY126" fmla="*/ 325000 h 606722"/>
              <a:gd name="connsiteX127" fmla="*/ 325000 h 606722"/>
              <a:gd name="connsiteY127" fmla="*/ 325000 h 606722"/>
              <a:gd name="connsiteX128" fmla="*/ 325000 h 606722"/>
              <a:gd name="connsiteY128" fmla="*/ 325000 h 606722"/>
              <a:gd name="connsiteX129" fmla="*/ 325000 h 606722"/>
              <a:gd name="connsiteY129" fmla="*/ 325000 h 606722"/>
              <a:gd name="connsiteX130" fmla="*/ 325000 h 606722"/>
              <a:gd name="connsiteY130" fmla="*/ 325000 h 606722"/>
              <a:gd name="connsiteX131" fmla="*/ 325000 h 606722"/>
              <a:gd name="connsiteY131" fmla="*/ 325000 h 606722"/>
              <a:gd name="connsiteX132" fmla="*/ 325000 h 606722"/>
              <a:gd name="connsiteY132" fmla="*/ 325000 h 606722"/>
              <a:gd name="connsiteX133" fmla="*/ 325000 h 606722"/>
              <a:gd name="connsiteY133" fmla="*/ 325000 h 606722"/>
              <a:gd name="connsiteX134" fmla="*/ 325000 h 606722"/>
              <a:gd name="connsiteY134" fmla="*/ 325000 h 606722"/>
              <a:gd name="connsiteX135" fmla="*/ 325000 h 606722"/>
              <a:gd name="connsiteY135" fmla="*/ 325000 h 606722"/>
              <a:gd name="connsiteX136" fmla="*/ 325000 h 606722"/>
              <a:gd name="connsiteY136" fmla="*/ 32500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607639" h="606722">
                <a:moveTo>
                  <a:pt x="486081" y="475259"/>
                </a:moveTo>
                <a:cubicBezTo>
                  <a:pt x="497298" y="475259"/>
                  <a:pt x="506378" y="484329"/>
                  <a:pt x="506378" y="495443"/>
                </a:cubicBezTo>
                <a:cubicBezTo>
                  <a:pt x="506378" y="502912"/>
                  <a:pt x="502283" y="509403"/>
                  <a:pt x="496230" y="512871"/>
                </a:cubicBezTo>
                <a:lnTo>
                  <a:pt x="496230" y="535900"/>
                </a:lnTo>
                <a:cubicBezTo>
                  <a:pt x="496230" y="541502"/>
                  <a:pt x="491690" y="546036"/>
                  <a:pt x="486081" y="546036"/>
                </a:cubicBezTo>
                <a:cubicBezTo>
                  <a:pt x="480562" y="546036"/>
                  <a:pt x="476022" y="541502"/>
                  <a:pt x="476022" y="535900"/>
                </a:cubicBezTo>
                <a:lnTo>
                  <a:pt x="476022" y="512871"/>
                </a:lnTo>
                <a:cubicBezTo>
                  <a:pt x="469968" y="509403"/>
                  <a:pt x="465873" y="502912"/>
                  <a:pt x="465873" y="495443"/>
                </a:cubicBezTo>
                <a:cubicBezTo>
                  <a:pt x="465873" y="484329"/>
                  <a:pt x="474953" y="475259"/>
                  <a:pt x="486081" y="475259"/>
                </a:cubicBezTo>
                <a:close/>
                <a:moveTo>
                  <a:pt x="415190" y="424698"/>
                </a:moveTo>
                <a:cubicBezTo>
                  <a:pt x="398455" y="424698"/>
                  <a:pt x="384836" y="438297"/>
                  <a:pt x="384836" y="455006"/>
                </a:cubicBezTo>
                <a:lnTo>
                  <a:pt x="384836" y="556150"/>
                </a:lnTo>
                <a:cubicBezTo>
                  <a:pt x="384836" y="572859"/>
                  <a:pt x="398455" y="586458"/>
                  <a:pt x="415190" y="586458"/>
                </a:cubicBezTo>
                <a:lnTo>
                  <a:pt x="556990" y="586458"/>
                </a:lnTo>
                <a:cubicBezTo>
                  <a:pt x="573725" y="586458"/>
                  <a:pt x="587344" y="572859"/>
                  <a:pt x="587344" y="556150"/>
                </a:cubicBezTo>
                <a:lnTo>
                  <a:pt x="587344" y="455006"/>
                </a:lnTo>
                <a:cubicBezTo>
                  <a:pt x="587344" y="438297"/>
                  <a:pt x="573725" y="424698"/>
                  <a:pt x="556990" y="424698"/>
                </a:cubicBezTo>
                <a:close/>
                <a:moveTo>
                  <a:pt x="111409" y="404481"/>
                </a:moveTo>
                <a:lnTo>
                  <a:pt x="293724" y="404481"/>
                </a:lnTo>
                <a:cubicBezTo>
                  <a:pt x="299244" y="404481"/>
                  <a:pt x="303784" y="409011"/>
                  <a:pt x="303784" y="414607"/>
                </a:cubicBezTo>
                <a:cubicBezTo>
                  <a:pt x="303784" y="420203"/>
                  <a:pt x="299244" y="424733"/>
                  <a:pt x="293724" y="424733"/>
                </a:cubicBezTo>
                <a:lnTo>
                  <a:pt x="111409" y="424733"/>
                </a:lnTo>
                <a:cubicBezTo>
                  <a:pt x="105801" y="424733"/>
                  <a:pt x="101261" y="420203"/>
                  <a:pt x="101261" y="414607"/>
                </a:cubicBezTo>
                <a:cubicBezTo>
                  <a:pt x="101261" y="409011"/>
                  <a:pt x="105801" y="404481"/>
                  <a:pt x="111409" y="404481"/>
                </a:cubicBezTo>
                <a:close/>
                <a:moveTo>
                  <a:pt x="10146" y="323613"/>
                </a:moveTo>
                <a:lnTo>
                  <a:pt x="394900" y="323613"/>
                </a:lnTo>
                <a:cubicBezTo>
                  <a:pt x="400507" y="323613"/>
                  <a:pt x="405046" y="328145"/>
                  <a:pt x="405046" y="333743"/>
                </a:cubicBezTo>
                <a:cubicBezTo>
                  <a:pt x="405046" y="339252"/>
                  <a:pt x="400507" y="343784"/>
                  <a:pt x="394900" y="343784"/>
                </a:cubicBezTo>
                <a:lnTo>
                  <a:pt x="20292" y="343784"/>
                </a:lnTo>
                <a:lnTo>
                  <a:pt x="20292" y="455039"/>
                </a:lnTo>
                <a:cubicBezTo>
                  <a:pt x="20292" y="469790"/>
                  <a:pt x="35867" y="485341"/>
                  <a:pt x="50642" y="485341"/>
                </a:cubicBezTo>
                <a:lnTo>
                  <a:pt x="334201" y="485341"/>
                </a:lnTo>
                <a:cubicBezTo>
                  <a:pt x="339719" y="485341"/>
                  <a:pt x="344258" y="489873"/>
                  <a:pt x="344258" y="495471"/>
                </a:cubicBezTo>
                <a:cubicBezTo>
                  <a:pt x="344258" y="501069"/>
                  <a:pt x="339719" y="505601"/>
                  <a:pt x="334201" y="505601"/>
                </a:cubicBezTo>
                <a:lnTo>
                  <a:pt x="50642" y="505601"/>
                </a:lnTo>
                <a:cubicBezTo>
                  <a:pt x="24564" y="505601"/>
                  <a:pt x="0" y="480987"/>
                  <a:pt x="0" y="455039"/>
                </a:cubicBezTo>
                <a:lnTo>
                  <a:pt x="0" y="333743"/>
                </a:lnTo>
                <a:cubicBezTo>
                  <a:pt x="0" y="328145"/>
                  <a:pt x="4539" y="323613"/>
                  <a:pt x="10146" y="323613"/>
                </a:cubicBezTo>
                <a:close/>
                <a:moveTo>
                  <a:pt x="486046" y="323554"/>
                </a:moveTo>
                <a:cubicBezTo>
                  <a:pt x="463703" y="323554"/>
                  <a:pt x="445544" y="341685"/>
                  <a:pt x="445544" y="363994"/>
                </a:cubicBezTo>
                <a:lnTo>
                  <a:pt x="445544" y="404434"/>
                </a:lnTo>
                <a:lnTo>
                  <a:pt x="526547" y="404434"/>
                </a:lnTo>
                <a:lnTo>
                  <a:pt x="526547" y="363994"/>
                </a:lnTo>
                <a:cubicBezTo>
                  <a:pt x="526547" y="341685"/>
                  <a:pt x="508388" y="323554"/>
                  <a:pt x="486046" y="323554"/>
                </a:cubicBezTo>
                <a:close/>
                <a:moveTo>
                  <a:pt x="486046" y="303290"/>
                </a:moveTo>
                <a:cubicBezTo>
                  <a:pt x="519604" y="303290"/>
                  <a:pt x="546842" y="330576"/>
                  <a:pt x="546842" y="363994"/>
                </a:cubicBezTo>
                <a:lnTo>
                  <a:pt x="546842" y="404434"/>
                </a:lnTo>
                <a:lnTo>
                  <a:pt x="556990" y="404434"/>
                </a:lnTo>
                <a:cubicBezTo>
                  <a:pt x="584852" y="404434"/>
                  <a:pt x="607639" y="427098"/>
                  <a:pt x="607639" y="455006"/>
                </a:cubicBezTo>
                <a:lnTo>
                  <a:pt x="607639" y="556150"/>
                </a:lnTo>
                <a:cubicBezTo>
                  <a:pt x="607639" y="583969"/>
                  <a:pt x="584852" y="606722"/>
                  <a:pt x="556990" y="606722"/>
                </a:cubicBezTo>
                <a:lnTo>
                  <a:pt x="415190" y="606722"/>
                </a:lnTo>
                <a:cubicBezTo>
                  <a:pt x="387239" y="606722"/>
                  <a:pt x="364541" y="583969"/>
                  <a:pt x="364541" y="556150"/>
                </a:cubicBezTo>
                <a:lnTo>
                  <a:pt x="364541" y="455006"/>
                </a:lnTo>
                <a:cubicBezTo>
                  <a:pt x="364541" y="427098"/>
                  <a:pt x="387239" y="404434"/>
                  <a:pt x="415190" y="404434"/>
                </a:cubicBezTo>
                <a:lnTo>
                  <a:pt x="425338" y="404434"/>
                </a:lnTo>
                <a:lnTo>
                  <a:pt x="425338" y="363994"/>
                </a:lnTo>
                <a:cubicBezTo>
                  <a:pt x="425338" y="330576"/>
                  <a:pt x="452576" y="303290"/>
                  <a:pt x="486046" y="303290"/>
                </a:cubicBezTo>
                <a:close/>
                <a:moveTo>
                  <a:pt x="111409" y="242745"/>
                </a:moveTo>
                <a:lnTo>
                  <a:pt x="293724" y="242745"/>
                </a:lnTo>
                <a:cubicBezTo>
                  <a:pt x="299244" y="242745"/>
                  <a:pt x="303784" y="247263"/>
                  <a:pt x="303784" y="252756"/>
                </a:cubicBezTo>
                <a:cubicBezTo>
                  <a:pt x="303784" y="258337"/>
                  <a:pt x="299244" y="262856"/>
                  <a:pt x="293724" y="262856"/>
                </a:cubicBezTo>
                <a:lnTo>
                  <a:pt x="111409" y="262856"/>
                </a:lnTo>
                <a:cubicBezTo>
                  <a:pt x="105801" y="262856"/>
                  <a:pt x="101261" y="258337"/>
                  <a:pt x="101261" y="252756"/>
                </a:cubicBezTo>
                <a:cubicBezTo>
                  <a:pt x="101261" y="247263"/>
                  <a:pt x="105801" y="242745"/>
                  <a:pt x="111409" y="242745"/>
                </a:cubicBezTo>
                <a:close/>
                <a:moveTo>
                  <a:pt x="476008" y="242704"/>
                </a:moveTo>
                <a:cubicBezTo>
                  <a:pt x="470398" y="242704"/>
                  <a:pt x="465855" y="247240"/>
                  <a:pt x="465855" y="252756"/>
                </a:cubicBezTo>
                <a:cubicBezTo>
                  <a:pt x="465855" y="258360"/>
                  <a:pt x="470398" y="262897"/>
                  <a:pt x="476008" y="262897"/>
                </a:cubicBezTo>
                <a:cubicBezTo>
                  <a:pt x="481530" y="262897"/>
                  <a:pt x="486072" y="258360"/>
                  <a:pt x="486072" y="252756"/>
                </a:cubicBezTo>
                <a:cubicBezTo>
                  <a:pt x="486072" y="247240"/>
                  <a:pt x="481530" y="242704"/>
                  <a:pt x="476008" y="242704"/>
                </a:cubicBezTo>
                <a:close/>
                <a:moveTo>
                  <a:pt x="394910" y="242704"/>
                </a:moveTo>
                <a:cubicBezTo>
                  <a:pt x="389388" y="242704"/>
                  <a:pt x="384846" y="247240"/>
                  <a:pt x="384846" y="252756"/>
                </a:cubicBezTo>
                <a:cubicBezTo>
                  <a:pt x="384846" y="258360"/>
                  <a:pt x="389388" y="262897"/>
                  <a:pt x="394910" y="262897"/>
                </a:cubicBezTo>
                <a:cubicBezTo>
                  <a:pt x="400520" y="262897"/>
                  <a:pt x="405062" y="258360"/>
                  <a:pt x="405062" y="252756"/>
                </a:cubicBezTo>
                <a:cubicBezTo>
                  <a:pt x="405062" y="247240"/>
                  <a:pt x="400520" y="242704"/>
                  <a:pt x="394910" y="242704"/>
                </a:cubicBezTo>
                <a:close/>
                <a:moveTo>
                  <a:pt x="476008" y="222422"/>
                </a:moveTo>
                <a:cubicBezTo>
                  <a:pt x="492751" y="222422"/>
                  <a:pt x="506377" y="236032"/>
                  <a:pt x="506377" y="252756"/>
                </a:cubicBezTo>
                <a:cubicBezTo>
                  <a:pt x="506377" y="269568"/>
                  <a:pt x="492751" y="283179"/>
                  <a:pt x="476008" y="283179"/>
                </a:cubicBezTo>
                <a:cubicBezTo>
                  <a:pt x="459176" y="283179"/>
                  <a:pt x="445550" y="269568"/>
                  <a:pt x="445550" y="252756"/>
                </a:cubicBezTo>
                <a:cubicBezTo>
                  <a:pt x="445550" y="236032"/>
                  <a:pt x="459176" y="222422"/>
                  <a:pt x="476008" y="222422"/>
                </a:cubicBezTo>
                <a:close/>
                <a:moveTo>
                  <a:pt x="394910" y="222422"/>
                </a:moveTo>
                <a:cubicBezTo>
                  <a:pt x="411742" y="222422"/>
                  <a:pt x="425368" y="236032"/>
                  <a:pt x="425368" y="252756"/>
                </a:cubicBezTo>
                <a:cubicBezTo>
                  <a:pt x="425368" y="269568"/>
                  <a:pt x="411742" y="283179"/>
                  <a:pt x="394910" y="283179"/>
                </a:cubicBezTo>
                <a:cubicBezTo>
                  <a:pt x="378167" y="283179"/>
                  <a:pt x="364541" y="269568"/>
                  <a:pt x="364541" y="252756"/>
                </a:cubicBezTo>
                <a:cubicBezTo>
                  <a:pt x="364541" y="236032"/>
                  <a:pt x="378167" y="222422"/>
                  <a:pt x="394910" y="222422"/>
                </a:cubicBezTo>
                <a:close/>
                <a:moveTo>
                  <a:pt x="10146" y="161736"/>
                </a:moveTo>
                <a:lnTo>
                  <a:pt x="556988" y="161736"/>
                </a:lnTo>
                <a:cubicBezTo>
                  <a:pt x="562595" y="161736"/>
                  <a:pt x="567134" y="166268"/>
                  <a:pt x="567134" y="171866"/>
                </a:cubicBezTo>
                <a:cubicBezTo>
                  <a:pt x="567134" y="177464"/>
                  <a:pt x="562595" y="181996"/>
                  <a:pt x="556988" y="181996"/>
                </a:cubicBezTo>
                <a:lnTo>
                  <a:pt x="20293" y="181996"/>
                </a:lnTo>
                <a:lnTo>
                  <a:pt x="20293" y="293249"/>
                </a:lnTo>
                <a:cubicBezTo>
                  <a:pt x="20293" y="298758"/>
                  <a:pt x="15753" y="303290"/>
                  <a:pt x="10146" y="303290"/>
                </a:cubicBezTo>
                <a:cubicBezTo>
                  <a:pt x="4539" y="303290"/>
                  <a:pt x="0" y="298758"/>
                  <a:pt x="0" y="293249"/>
                </a:cubicBezTo>
                <a:lnTo>
                  <a:pt x="0" y="171866"/>
                </a:lnTo>
                <a:cubicBezTo>
                  <a:pt x="0" y="166268"/>
                  <a:pt x="4539" y="161736"/>
                  <a:pt x="10146" y="161736"/>
                </a:cubicBezTo>
                <a:close/>
                <a:moveTo>
                  <a:pt x="111409" y="80868"/>
                </a:moveTo>
                <a:lnTo>
                  <a:pt x="293724" y="80868"/>
                </a:lnTo>
                <a:cubicBezTo>
                  <a:pt x="299244" y="80868"/>
                  <a:pt x="303784" y="85398"/>
                  <a:pt x="303784" y="90994"/>
                </a:cubicBezTo>
                <a:cubicBezTo>
                  <a:pt x="303784" y="96590"/>
                  <a:pt x="299244" y="101120"/>
                  <a:pt x="293724" y="101120"/>
                </a:cubicBezTo>
                <a:lnTo>
                  <a:pt x="111409" y="101120"/>
                </a:lnTo>
                <a:cubicBezTo>
                  <a:pt x="105801" y="101120"/>
                  <a:pt x="101261" y="96590"/>
                  <a:pt x="101261" y="90994"/>
                </a:cubicBezTo>
                <a:cubicBezTo>
                  <a:pt x="101261" y="85398"/>
                  <a:pt x="105801" y="80868"/>
                  <a:pt x="111409" y="80868"/>
                </a:cubicBezTo>
                <a:close/>
                <a:moveTo>
                  <a:pt x="476008" y="80861"/>
                </a:moveTo>
                <a:cubicBezTo>
                  <a:pt x="470398" y="80861"/>
                  <a:pt x="465855" y="85394"/>
                  <a:pt x="465855" y="90994"/>
                </a:cubicBezTo>
                <a:cubicBezTo>
                  <a:pt x="465855" y="96593"/>
                  <a:pt x="470398" y="101126"/>
                  <a:pt x="476008" y="101126"/>
                </a:cubicBezTo>
                <a:cubicBezTo>
                  <a:pt x="481530" y="101126"/>
                  <a:pt x="486072" y="96593"/>
                  <a:pt x="486072" y="90994"/>
                </a:cubicBezTo>
                <a:cubicBezTo>
                  <a:pt x="486072" y="85394"/>
                  <a:pt x="481530" y="80861"/>
                  <a:pt x="476008" y="80861"/>
                </a:cubicBezTo>
                <a:close/>
                <a:moveTo>
                  <a:pt x="394910" y="80861"/>
                </a:moveTo>
                <a:cubicBezTo>
                  <a:pt x="389388" y="80861"/>
                  <a:pt x="384846" y="85394"/>
                  <a:pt x="384846" y="90994"/>
                </a:cubicBezTo>
                <a:cubicBezTo>
                  <a:pt x="384846" y="96593"/>
                  <a:pt x="389388" y="101126"/>
                  <a:pt x="394910" y="101126"/>
                </a:cubicBezTo>
                <a:cubicBezTo>
                  <a:pt x="400520" y="101126"/>
                  <a:pt x="405062" y="96593"/>
                  <a:pt x="405062" y="90994"/>
                </a:cubicBezTo>
                <a:cubicBezTo>
                  <a:pt x="405062" y="85394"/>
                  <a:pt x="400520" y="80861"/>
                  <a:pt x="394910" y="80861"/>
                </a:cubicBezTo>
                <a:close/>
                <a:moveTo>
                  <a:pt x="476008" y="60686"/>
                </a:moveTo>
                <a:cubicBezTo>
                  <a:pt x="492751" y="60686"/>
                  <a:pt x="506377" y="74284"/>
                  <a:pt x="506377" y="90994"/>
                </a:cubicBezTo>
                <a:cubicBezTo>
                  <a:pt x="506377" y="107703"/>
                  <a:pt x="492751" y="121302"/>
                  <a:pt x="476008" y="121302"/>
                </a:cubicBezTo>
                <a:cubicBezTo>
                  <a:pt x="459176" y="121302"/>
                  <a:pt x="445550" y="107703"/>
                  <a:pt x="445550" y="90994"/>
                </a:cubicBezTo>
                <a:cubicBezTo>
                  <a:pt x="445550" y="74284"/>
                  <a:pt x="459176" y="60686"/>
                  <a:pt x="476008" y="60686"/>
                </a:cubicBezTo>
                <a:close/>
                <a:moveTo>
                  <a:pt x="394910" y="60686"/>
                </a:moveTo>
                <a:cubicBezTo>
                  <a:pt x="411742" y="60686"/>
                  <a:pt x="425368" y="74284"/>
                  <a:pt x="425368" y="90994"/>
                </a:cubicBezTo>
                <a:cubicBezTo>
                  <a:pt x="425368" y="107703"/>
                  <a:pt x="411742" y="121302"/>
                  <a:pt x="394910" y="121302"/>
                </a:cubicBezTo>
                <a:cubicBezTo>
                  <a:pt x="378167" y="121302"/>
                  <a:pt x="364541" y="107703"/>
                  <a:pt x="364541" y="90994"/>
                </a:cubicBezTo>
                <a:cubicBezTo>
                  <a:pt x="364541" y="74284"/>
                  <a:pt x="378167" y="60686"/>
                  <a:pt x="394910" y="60686"/>
                </a:cubicBezTo>
                <a:close/>
                <a:moveTo>
                  <a:pt x="50644" y="0"/>
                </a:moveTo>
                <a:lnTo>
                  <a:pt x="556995" y="0"/>
                </a:lnTo>
                <a:cubicBezTo>
                  <a:pt x="582985" y="0"/>
                  <a:pt x="607639" y="24528"/>
                  <a:pt x="607639" y="50567"/>
                </a:cubicBezTo>
                <a:lnTo>
                  <a:pt x="607639" y="384277"/>
                </a:lnTo>
                <a:cubicBezTo>
                  <a:pt x="607639" y="389787"/>
                  <a:pt x="603100" y="394320"/>
                  <a:pt x="597493" y="394320"/>
                </a:cubicBezTo>
                <a:cubicBezTo>
                  <a:pt x="591885" y="394320"/>
                  <a:pt x="587346" y="389787"/>
                  <a:pt x="587346" y="384277"/>
                </a:cubicBezTo>
                <a:lnTo>
                  <a:pt x="587346" y="50567"/>
                </a:lnTo>
                <a:cubicBezTo>
                  <a:pt x="587346" y="35815"/>
                  <a:pt x="571770" y="20262"/>
                  <a:pt x="556995" y="20262"/>
                </a:cubicBezTo>
                <a:lnTo>
                  <a:pt x="50644" y="20262"/>
                </a:lnTo>
                <a:cubicBezTo>
                  <a:pt x="35869" y="20262"/>
                  <a:pt x="20293" y="35815"/>
                  <a:pt x="20293" y="50567"/>
                </a:cubicBezTo>
                <a:lnTo>
                  <a:pt x="20293" y="131440"/>
                </a:lnTo>
                <a:cubicBezTo>
                  <a:pt x="20293" y="137039"/>
                  <a:pt x="15754" y="141571"/>
                  <a:pt x="10146" y="141571"/>
                </a:cubicBezTo>
                <a:cubicBezTo>
                  <a:pt x="4539" y="141571"/>
                  <a:pt x="0" y="137039"/>
                  <a:pt x="0" y="131440"/>
                </a:cubicBezTo>
                <a:lnTo>
                  <a:pt x="0" y="50567"/>
                </a:lnTo>
                <a:cubicBezTo>
                  <a:pt x="0" y="24528"/>
                  <a:pt x="24565" y="0"/>
                  <a:pt x="50644" y="0"/>
                </a:cubicBezTo>
                <a:close/>
              </a:path>
            </a:pathLst>
          </a:custGeom>
          <a:solidFill>
            <a:srgbClr val="F05A23"/>
          </a:solidFill>
          <a:ln>
            <a:solidFill>
              <a:srgbClr val="F05A23"/>
            </a:solidFill>
          </a:ln>
        </p:spPr>
      </p:sp>
      <p:sp>
        <p:nvSpPr>
          <p:cNvPr id="92" name="文本框 91"/>
          <p:cNvSpPr txBox="1"/>
          <p:nvPr/>
        </p:nvSpPr>
        <p:spPr>
          <a:xfrm>
            <a:off x="4232734" y="4528559"/>
            <a:ext cx="2512800" cy="3508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noProof="0" smtClean="0">
                <a:solidFill>
                  <a:srgbClr val="F05A23"/>
                </a:solidFill>
                <a:latin typeface="楷体"/>
                <a:ea typeface="楷体"/>
              </a:rPr>
              <a:t>网银卡集</a:t>
            </a:r>
            <a:r>
              <a:rPr lang="zh-CN" altLang="en-US" sz="1400" b="1">
                <a:solidFill>
                  <a:srgbClr val="F05A23"/>
                </a:solidFill>
                <a:latin typeface="楷体"/>
                <a:ea typeface="楷体"/>
              </a:rPr>
              <a:t>成</a:t>
            </a:r>
            <a:r>
              <a:rPr lang="zh-CN" altLang="en-US" sz="1400" b="1" noProof="0" smtClean="0">
                <a:solidFill>
                  <a:srgbClr val="F05A23"/>
                </a:solidFill>
                <a:latin typeface="楷体"/>
                <a:ea typeface="楷体"/>
              </a:rPr>
              <a:t>箱</a:t>
            </a:r>
            <a:endParaRPr kumimoji="0" lang="en-US" altLang="zh-CN" sz="1400" b="1" i="0" u="none" strike="noStrike" kern="1200" cap="none" spc="0" normalizeH="0" baseline="0" noProof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楷体"/>
              <a:ea typeface="楷体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5086271" y="3656244"/>
            <a:ext cx="998059" cy="338554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机房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cxnSp>
        <p:nvCxnSpPr>
          <p:cNvPr id="96" name="肘形连接符 95"/>
          <p:cNvCxnSpPr/>
          <p:nvPr/>
        </p:nvCxnSpPr>
        <p:spPr>
          <a:xfrm flipV="1">
            <a:off x="7087180" y="3803472"/>
            <a:ext cx="1067500" cy="970390"/>
          </a:xfrm>
          <a:prstGeom prst="bentConnector3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肘形连接符 96"/>
          <p:cNvCxnSpPr/>
          <p:nvPr/>
        </p:nvCxnSpPr>
        <p:spPr>
          <a:xfrm rot="10800000" flipV="1">
            <a:off x="7087180" y="4213390"/>
            <a:ext cx="1067500" cy="902447"/>
          </a:xfrm>
          <a:prstGeom prst="bentConnector3">
            <a:avLst>
              <a:gd name="adj1" fmla="val 24861"/>
            </a:avLst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文本框 97"/>
          <p:cNvSpPr txBox="1"/>
          <p:nvPr/>
        </p:nvSpPr>
        <p:spPr>
          <a:xfrm>
            <a:off x="7199577" y="3526810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返回连接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99" name="文本框 98"/>
          <p:cNvSpPr txBox="1"/>
          <p:nvPr/>
        </p:nvSpPr>
        <p:spPr>
          <a:xfrm>
            <a:off x="7097098" y="5129404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远程调用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8403354" y="2364217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访问平台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cxnSp>
        <p:nvCxnSpPr>
          <p:cNvPr id="101" name="肘形连接符 100"/>
          <p:cNvCxnSpPr/>
          <p:nvPr/>
        </p:nvCxnSpPr>
        <p:spPr>
          <a:xfrm>
            <a:off x="7806748" y="2365033"/>
            <a:ext cx="2047524" cy="801364"/>
          </a:xfrm>
          <a:prstGeom prst="bentConnector2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肘形连接符 101"/>
          <p:cNvCxnSpPr/>
          <p:nvPr/>
        </p:nvCxnSpPr>
        <p:spPr>
          <a:xfrm rot="10800000">
            <a:off x="7806748" y="1928192"/>
            <a:ext cx="2549826" cy="1184003"/>
          </a:xfrm>
          <a:prstGeom prst="bentConnector3">
            <a:avLst>
              <a:gd name="adj1" fmla="val -674"/>
            </a:avLst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文本框 102"/>
          <p:cNvSpPr txBox="1"/>
          <p:nvPr/>
        </p:nvSpPr>
        <p:spPr>
          <a:xfrm>
            <a:off x="9355241" y="1645132"/>
            <a:ext cx="998059" cy="27699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marL="105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05A23"/>
                </a:solidFill>
                <a:effectLst/>
                <a:uLnTx/>
                <a:uFillTx/>
                <a:latin typeface="+mn-lt"/>
                <a:ea typeface="楷体"/>
                <a:cs typeface="+mn-cs"/>
              </a:rPr>
              <a:t>身份验证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05A23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7636" y="3207161"/>
            <a:ext cx="3095194" cy="1876573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581" y="1942343"/>
            <a:ext cx="2392091" cy="107915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772" y="4951787"/>
            <a:ext cx="1745043" cy="1356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9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方</a:t>
            </a:r>
            <a:r>
              <a:rPr lang="zh-CN" altLang="en-US" smtClean="0"/>
              <a:t>案介绍</a:t>
            </a:r>
            <a:r>
              <a:rPr lang="en-US" altLang="zh-CN" b="0" smtClean="0"/>
              <a:t>——</a:t>
            </a:r>
            <a:r>
              <a:rPr lang="zh-CN" altLang="en-US" b="0" smtClean="0"/>
              <a:t>流程亮点</a:t>
            </a:r>
            <a:endParaRPr lang="zh-CN" altLang="en-US" b="0"/>
          </a:p>
        </p:txBody>
      </p:sp>
      <p:sp>
        <p:nvSpPr>
          <p:cNvPr id="49" name="矩形 48"/>
          <p:cNvSpPr/>
          <p:nvPr/>
        </p:nvSpPr>
        <p:spPr>
          <a:xfrm>
            <a:off x="396648" y="1172665"/>
            <a:ext cx="3717148" cy="49243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defTabSz="1219170"/>
            <a:r>
              <a:rPr lang="en-US" altLang="zh-CN" sz="2400" b="1" i="1" smtClean="0">
                <a:solidFill>
                  <a:srgbClr val="EA5504"/>
                </a:solidFill>
                <a:latin typeface="+mn-ea"/>
              </a:rPr>
              <a:t>Step 1</a:t>
            </a:r>
            <a:r>
              <a:rPr lang="zh-CN" altLang="en-US" sz="2400" b="1" i="1" smtClean="0">
                <a:solidFill>
                  <a:srgbClr val="EA5504"/>
                </a:solidFill>
                <a:latin typeface="+mn-ea"/>
              </a:rPr>
              <a:t>：网银卡集中管理</a:t>
            </a:r>
            <a:endParaRPr lang="en-US" altLang="zh-CN" sz="2400" b="1" i="1" smtClean="0">
              <a:solidFill>
                <a:srgbClr val="EA5504"/>
              </a:solidFill>
              <a:latin typeface="+mn-ea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477892" y="1808160"/>
            <a:ext cx="5481641" cy="2370013"/>
            <a:chOff x="73747" y="4057070"/>
            <a:chExt cx="4235406" cy="2120519"/>
          </a:xfrm>
        </p:grpSpPr>
        <p:grpSp>
          <p:nvGrpSpPr>
            <p:cNvPr id="14" name="组合 13"/>
            <p:cNvGrpSpPr/>
            <p:nvPr/>
          </p:nvGrpSpPr>
          <p:grpSpPr>
            <a:xfrm>
              <a:off x="230210" y="4501811"/>
              <a:ext cx="3966497" cy="1675778"/>
              <a:chOff x="920749" y="3785831"/>
              <a:chExt cx="3745071" cy="1357616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2916698" y="3847447"/>
                <a:ext cx="1749122" cy="1296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1487475" y="4464231"/>
                <a:ext cx="661973" cy="208026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normAutofit/>
              </a:bodyPr>
              <a:lstStyle/>
              <a:p>
                <a:pPr marL="105750"/>
                <a:r>
                  <a:rPr lang="en-US" altLang="zh-CN" sz="500" b="1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……</a:t>
                </a:r>
                <a:endParaRPr lang="zh-CN" altLang="en-US" sz="500" b="1" dirty="0" smtClean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  <p:grpSp>
            <p:nvGrpSpPr>
              <p:cNvPr id="18" name="组合 17"/>
              <p:cNvGrpSpPr/>
              <p:nvPr/>
            </p:nvGrpSpPr>
            <p:grpSpPr>
              <a:xfrm>
                <a:off x="3113275" y="4359713"/>
                <a:ext cx="1391155" cy="663432"/>
                <a:chOff x="666132" y="990520"/>
                <a:chExt cx="1237255" cy="624062"/>
              </a:xfrm>
            </p:grpSpPr>
            <p:sp>
              <p:nvSpPr>
                <p:cNvPr id="58" name="server_182394"/>
                <p:cNvSpPr>
                  <a:spLocks noChangeAspect="1"/>
                </p:cNvSpPr>
                <p:nvPr/>
              </p:nvSpPr>
              <p:spPr bwMode="auto">
                <a:xfrm>
                  <a:off x="666132" y="1308582"/>
                  <a:ext cx="306463" cy="306000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  <a:gd name="connsiteX68" fmla="*/ 325000 h 606722"/>
                    <a:gd name="connsiteY68" fmla="*/ 325000 h 606722"/>
                    <a:gd name="connsiteX69" fmla="*/ 325000 h 606722"/>
                    <a:gd name="connsiteY69" fmla="*/ 325000 h 606722"/>
                    <a:gd name="connsiteX70" fmla="*/ 325000 h 606722"/>
                    <a:gd name="connsiteY70" fmla="*/ 325000 h 606722"/>
                    <a:gd name="connsiteX71" fmla="*/ 325000 h 606722"/>
                    <a:gd name="connsiteY71" fmla="*/ 325000 h 606722"/>
                    <a:gd name="connsiteX72" fmla="*/ 325000 h 606722"/>
                    <a:gd name="connsiteY72" fmla="*/ 325000 h 606722"/>
                    <a:gd name="connsiteX73" fmla="*/ 325000 h 606722"/>
                    <a:gd name="connsiteY73" fmla="*/ 325000 h 606722"/>
                    <a:gd name="connsiteX74" fmla="*/ 325000 h 606722"/>
                    <a:gd name="connsiteY74" fmla="*/ 325000 h 606722"/>
                    <a:gd name="connsiteX75" fmla="*/ 325000 h 606722"/>
                    <a:gd name="connsiteY75" fmla="*/ 325000 h 606722"/>
                    <a:gd name="connsiteX76" fmla="*/ 325000 h 606722"/>
                    <a:gd name="connsiteY76" fmla="*/ 325000 h 606722"/>
                    <a:gd name="connsiteX77" fmla="*/ 325000 h 606722"/>
                    <a:gd name="connsiteY77" fmla="*/ 325000 h 606722"/>
                    <a:gd name="connsiteX78" fmla="*/ 325000 h 606722"/>
                    <a:gd name="connsiteY78" fmla="*/ 325000 h 606722"/>
                    <a:gd name="connsiteX79" fmla="*/ 325000 h 606722"/>
                    <a:gd name="connsiteY79" fmla="*/ 325000 h 606722"/>
                    <a:gd name="connsiteX80" fmla="*/ 325000 h 606722"/>
                    <a:gd name="connsiteY80" fmla="*/ 325000 h 606722"/>
                    <a:gd name="connsiteX81" fmla="*/ 325000 h 606722"/>
                    <a:gd name="connsiteY81" fmla="*/ 325000 h 606722"/>
                    <a:gd name="connsiteX82" fmla="*/ 325000 h 606722"/>
                    <a:gd name="connsiteY82" fmla="*/ 325000 h 606722"/>
                    <a:gd name="connsiteX83" fmla="*/ 325000 h 606722"/>
                    <a:gd name="connsiteY83" fmla="*/ 325000 h 606722"/>
                    <a:gd name="connsiteX84" fmla="*/ 325000 h 606722"/>
                    <a:gd name="connsiteY84" fmla="*/ 325000 h 606722"/>
                    <a:gd name="connsiteX85" fmla="*/ 325000 h 606722"/>
                    <a:gd name="connsiteY85" fmla="*/ 325000 h 606722"/>
                    <a:gd name="connsiteX86" fmla="*/ 325000 h 606722"/>
                    <a:gd name="connsiteY86" fmla="*/ 325000 h 606722"/>
                    <a:gd name="connsiteX87" fmla="*/ 325000 h 606722"/>
                    <a:gd name="connsiteY87" fmla="*/ 325000 h 606722"/>
                    <a:gd name="connsiteX88" fmla="*/ 325000 h 606722"/>
                    <a:gd name="connsiteY88" fmla="*/ 325000 h 606722"/>
                    <a:gd name="connsiteX89" fmla="*/ 325000 h 606722"/>
                    <a:gd name="connsiteY89" fmla="*/ 325000 h 606722"/>
                    <a:gd name="connsiteX90" fmla="*/ 325000 h 606722"/>
                    <a:gd name="connsiteY90" fmla="*/ 325000 h 606722"/>
                    <a:gd name="connsiteX91" fmla="*/ 325000 h 606722"/>
                    <a:gd name="connsiteY91" fmla="*/ 325000 h 606722"/>
                    <a:gd name="connsiteX92" fmla="*/ 325000 h 606722"/>
                    <a:gd name="connsiteY92" fmla="*/ 325000 h 606722"/>
                    <a:gd name="connsiteX93" fmla="*/ 325000 h 606722"/>
                    <a:gd name="connsiteY93" fmla="*/ 325000 h 606722"/>
                    <a:gd name="connsiteX94" fmla="*/ 325000 h 606722"/>
                    <a:gd name="connsiteY94" fmla="*/ 325000 h 606722"/>
                    <a:gd name="connsiteX95" fmla="*/ 325000 h 606722"/>
                    <a:gd name="connsiteY95" fmla="*/ 325000 h 606722"/>
                    <a:gd name="connsiteX96" fmla="*/ 325000 h 606722"/>
                    <a:gd name="connsiteY96" fmla="*/ 325000 h 606722"/>
                    <a:gd name="connsiteX97" fmla="*/ 325000 h 606722"/>
                    <a:gd name="connsiteY97" fmla="*/ 325000 h 606722"/>
                    <a:gd name="connsiteX98" fmla="*/ 325000 h 606722"/>
                    <a:gd name="connsiteY98" fmla="*/ 325000 h 606722"/>
                    <a:gd name="connsiteX99" fmla="*/ 325000 h 606722"/>
                    <a:gd name="connsiteY99" fmla="*/ 325000 h 606722"/>
                    <a:gd name="connsiteX100" fmla="*/ 325000 h 606722"/>
                    <a:gd name="connsiteY100" fmla="*/ 325000 h 606722"/>
                    <a:gd name="connsiteX101" fmla="*/ 325000 h 606722"/>
                    <a:gd name="connsiteY101" fmla="*/ 325000 h 606722"/>
                    <a:gd name="connsiteX102" fmla="*/ 325000 h 606722"/>
                    <a:gd name="connsiteY102" fmla="*/ 325000 h 606722"/>
                    <a:gd name="connsiteX103" fmla="*/ 325000 h 606722"/>
                    <a:gd name="connsiteY103" fmla="*/ 325000 h 606722"/>
                    <a:gd name="connsiteX104" fmla="*/ 325000 h 606722"/>
                    <a:gd name="connsiteY104" fmla="*/ 325000 h 606722"/>
                    <a:gd name="connsiteX105" fmla="*/ 325000 h 606722"/>
                    <a:gd name="connsiteY105" fmla="*/ 325000 h 606722"/>
                    <a:gd name="connsiteX106" fmla="*/ 325000 h 606722"/>
                    <a:gd name="connsiteY106" fmla="*/ 325000 h 606722"/>
                    <a:gd name="connsiteX107" fmla="*/ 325000 h 606722"/>
                    <a:gd name="connsiteY107" fmla="*/ 325000 h 606722"/>
                    <a:gd name="connsiteX108" fmla="*/ 325000 h 606722"/>
                    <a:gd name="connsiteY108" fmla="*/ 325000 h 606722"/>
                    <a:gd name="connsiteX109" fmla="*/ 325000 h 606722"/>
                    <a:gd name="connsiteY109" fmla="*/ 325000 h 606722"/>
                    <a:gd name="connsiteX110" fmla="*/ 325000 h 606722"/>
                    <a:gd name="connsiteY110" fmla="*/ 325000 h 606722"/>
                    <a:gd name="connsiteX111" fmla="*/ 325000 h 606722"/>
                    <a:gd name="connsiteY111" fmla="*/ 325000 h 606722"/>
                    <a:gd name="connsiteX112" fmla="*/ 325000 h 606722"/>
                    <a:gd name="connsiteY112" fmla="*/ 325000 h 606722"/>
                    <a:gd name="connsiteX113" fmla="*/ 325000 h 606722"/>
                    <a:gd name="connsiteY113" fmla="*/ 325000 h 606722"/>
                    <a:gd name="connsiteX114" fmla="*/ 325000 h 606722"/>
                    <a:gd name="connsiteY114" fmla="*/ 325000 h 606722"/>
                    <a:gd name="connsiteX115" fmla="*/ 325000 h 606722"/>
                    <a:gd name="connsiteY115" fmla="*/ 325000 h 606722"/>
                    <a:gd name="connsiteX116" fmla="*/ 325000 h 606722"/>
                    <a:gd name="connsiteY116" fmla="*/ 325000 h 606722"/>
                    <a:gd name="connsiteX117" fmla="*/ 325000 h 606722"/>
                    <a:gd name="connsiteY117" fmla="*/ 325000 h 606722"/>
                    <a:gd name="connsiteX118" fmla="*/ 325000 h 606722"/>
                    <a:gd name="connsiteY118" fmla="*/ 325000 h 606722"/>
                    <a:gd name="connsiteX119" fmla="*/ 325000 h 606722"/>
                    <a:gd name="connsiteY119" fmla="*/ 325000 h 606722"/>
                    <a:gd name="connsiteX120" fmla="*/ 325000 h 606722"/>
                    <a:gd name="connsiteY120" fmla="*/ 325000 h 606722"/>
                    <a:gd name="connsiteX121" fmla="*/ 325000 h 606722"/>
                    <a:gd name="connsiteY121" fmla="*/ 325000 h 606722"/>
                    <a:gd name="connsiteX122" fmla="*/ 325000 h 606722"/>
                    <a:gd name="connsiteY122" fmla="*/ 325000 h 606722"/>
                    <a:gd name="connsiteX123" fmla="*/ 325000 h 606722"/>
                    <a:gd name="connsiteY123" fmla="*/ 325000 h 606722"/>
                    <a:gd name="connsiteX124" fmla="*/ 325000 h 606722"/>
                    <a:gd name="connsiteY124" fmla="*/ 325000 h 606722"/>
                    <a:gd name="connsiteX125" fmla="*/ 325000 h 606722"/>
                    <a:gd name="connsiteY125" fmla="*/ 325000 h 606722"/>
                    <a:gd name="connsiteX126" fmla="*/ 325000 h 606722"/>
                    <a:gd name="connsiteY126" fmla="*/ 325000 h 606722"/>
                    <a:gd name="connsiteX127" fmla="*/ 325000 h 606722"/>
                    <a:gd name="connsiteY127" fmla="*/ 325000 h 606722"/>
                    <a:gd name="connsiteX128" fmla="*/ 325000 h 606722"/>
                    <a:gd name="connsiteY128" fmla="*/ 325000 h 606722"/>
                    <a:gd name="connsiteX129" fmla="*/ 325000 h 606722"/>
                    <a:gd name="connsiteY129" fmla="*/ 325000 h 606722"/>
                    <a:gd name="connsiteX130" fmla="*/ 325000 h 606722"/>
                    <a:gd name="connsiteY130" fmla="*/ 325000 h 606722"/>
                    <a:gd name="connsiteX131" fmla="*/ 325000 h 606722"/>
                    <a:gd name="connsiteY131" fmla="*/ 325000 h 606722"/>
                    <a:gd name="connsiteX132" fmla="*/ 325000 h 606722"/>
                    <a:gd name="connsiteY132" fmla="*/ 325000 h 606722"/>
                    <a:gd name="connsiteX133" fmla="*/ 325000 h 606722"/>
                    <a:gd name="connsiteY133" fmla="*/ 325000 h 606722"/>
                    <a:gd name="connsiteX134" fmla="*/ 325000 h 606722"/>
                    <a:gd name="connsiteY134" fmla="*/ 325000 h 606722"/>
                    <a:gd name="connsiteX135" fmla="*/ 325000 h 606722"/>
                    <a:gd name="connsiteY135" fmla="*/ 325000 h 606722"/>
                    <a:gd name="connsiteX136" fmla="*/ 325000 h 606722"/>
                    <a:gd name="connsiteY136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</a:cxnLst>
                  <a:rect l="l" t="t" r="r" b="b"/>
                  <a:pathLst>
                    <a:path w="607639" h="606722">
                      <a:moveTo>
                        <a:pt x="486081" y="475259"/>
                      </a:moveTo>
                      <a:cubicBezTo>
                        <a:pt x="497298" y="475259"/>
                        <a:pt x="506378" y="484329"/>
                        <a:pt x="506378" y="495443"/>
                      </a:cubicBezTo>
                      <a:cubicBezTo>
                        <a:pt x="506378" y="502912"/>
                        <a:pt x="502283" y="509403"/>
                        <a:pt x="496230" y="512871"/>
                      </a:cubicBezTo>
                      <a:lnTo>
                        <a:pt x="496230" y="535900"/>
                      </a:lnTo>
                      <a:cubicBezTo>
                        <a:pt x="496230" y="541502"/>
                        <a:pt x="491690" y="546036"/>
                        <a:pt x="486081" y="546036"/>
                      </a:cubicBezTo>
                      <a:cubicBezTo>
                        <a:pt x="480562" y="546036"/>
                        <a:pt x="476022" y="541502"/>
                        <a:pt x="476022" y="535900"/>
                      </a:cubicBezTo>
                      <a:lnTo>
                        <a:pt x="476022" y="512871"/>
                      </a:lnTo>
                      <a:cubicBezTo>
                        <a:pt x="469968" y="509403"/>
                        <a:pt x="465873" y="502912"/>
                        <a:pt x="465873" y="495443"/>
                      </a:cubicBezTo>
                      <a:cubicBezTo>
                        <a:pt x="465873" y="484329"/>
                        <a:pt x="474953" y="475259"/>
                        <a:pt x="486081" y="475259"/>
                      </a:cubicBezTo>
                      <a:close/>
                      <a:moveTo>
                        <a:pt x="415190" y="424698"/>
                      </a:moveTo>
                      <a:cubicBezTo>
                        <a:pt x="398455" y="424698"/>
                        <a:pt x="384836" y="438297"/>
                        <a:pt x="384836" y="455006"/>
                      </a:cubicBezTo>
                      <a:lnTo>
                        <a:pt x="384836" y="556150"/>
                      </a:lnTo>
                      <a:cubicBezTo>
                        <a:pt x="384836" y="572859"/>
                        <a:pt x="398455" y="586458"/>
                        <a:pt x="415190" y="586458"/>
                      </a:cubicBezTo>
                      <a:lnTo>
                        <a:pt x="556990" y="586458"/>
                      </a:lnTo>
                      <a:cubicBezTo>
                        <a:pt x="573725" y="586458"/>
                        <a:pt x="587344" y="572859"/>
                        <a:pt x="587344" y="556150"/>
                      </a:cubicBezTo>
                      <a:lnTo>
                        <a:pt x="587344" y="455006"/>
                      </a:lnTo>
                      <a:cubicBezTo>
                        <a:pt x="587344" y="438297"/>
                        <a:pt x="573725" y="424698"/>
                        <a:pt x="556990" y="424698"/>
                      </a:cubicBezTo>
                      <a:close/>
                      <a:moveTo>
                        <a:pt x="111409" y="404481"/>
                      </a:moveTo>
                      <a:lnTo>
                        <a:pt x="293724" y="404481"/>
                      </a:lnTo>
                      <a:cubicBezTo>
                        <a:pt x="299244" y="404481"/>
                        <a:pt x="303784" y="409011"/>
                        <a:pt x="303784" y="414607"/>
                      </a:cubicBezTo>
                      <a:cubicBezTo>
                        <a:pt x="303784" y="420203"/>
                        <a:pt x="299244" y="424733"/>
                        <a:pt x="293724" y="424733"/>
                      </a:cubicBezTo>
                      <a:lnTo>
                        <a:pt x="111409" y="424733"/>
                      </a:lnTo>
                      <a:cubicBezTo>
                        <a:pt x="105801" y="424733"/>
                        <a:pt x="101261" y="420203"/>
                        <a:pt x="101261" y="414607"/>
                      </a:cubicBezTo>
                      <a:cubicBezTo>
                        <a:pt x="101261" y="409011"/>
                        <a:pt x="105801" y="404481"/>
                        <a:pt x="111409" y="404481"/>
                      </a:cubicBezTo>
                      <a:close/>
                      <a:moveTo>
                        <a:pt x="10146" y="323613"/>
                      </a:moveTo>
                      <a:lnTo>
                        <a:pt x="394900" y="323613"/>
                      </a:lnTo>
                      <a:cubicBezTo>
                        <a:pt x="400507" y="323613"/>
                        <a:pt x="405046" y="328145"/>
                        <a:pt x="405046" y="333743"/>
                      </a:cubicBezTo>
                      <a:cubicBezTo>
                        <a:pt x="405046" y="339252"/>
                        <a:pt x="400507" y="343784"/>
                        <a:pt x="394900" y="343784"/>
                      </a:cubicBezTo>
                      <a:lnTo>
                        <a:pt x="20292" y="343784"/>
                      </a:lnTo>
                      <a:lnTo>
                        <a:pt x="20292" y="455039"/>
                      </a:lnTo>
                      <a:cubicBezTo>
                        <a:pt x="20292" y="469790"/>
                        <a:pt x="35867" y="485341"/>
                        <a:pt x="50642" y="485341"/>
                      </a:cubicBezTo>
                      <a:lnTo>
                        <a:pt x="334201" y="485341"/>
                      </a:lnTo>
                      <a:cubicBezTo>
                        <a:pt x="339719" y="485341"/>
                        <a:pt x="344258" y="489873"/>
                        <a:pt x="344258" y="495471"/>
                      </a:cubicBezTo>
                      <a:cubicBezTo>
                        <a:pt x="344258" y="501069"/>
                        <a:pt x="339719" y="505601"/>
                        <a:pt x="334201" y="505601"/>
                      </a:cubicBezTo>
                      <a:lnTo>
                        <a:pt x="50642" y="505601"/>
                      </a:lnTo>
                      <a:cubicBezTo>
                        <a:pt x="24564" y="505601"/>
                        <a:pt x="0" y="480987"/>
                        <a:pt x="0" y="455039"/>
                      </a:cubicBezTo>
                      <a:lnTo>
                        <a:pt x="0" y="333743"/>
                      </a:lnTo>
                      <a:cubicBezTo>
                        <a:pt x="0" y="328145"/>
                        <a:pt x="4539" y="323613"/>
                        <a:pt x="10146" y="323613"/>
                      </a:cubicBezTo>
                      <a:close/>
                      <a:moveTo>
                        <a:pt x="486046" y="323554"/>
                      </a:moveTo>
                      <a:cubicBezTo>
                        <a:pt x="463703" y="323554"/>
                        <a:pt x="445544" y="341685"/>
                        <a:pt x="445544" y="363994"/>
                      </a:cubicBezTo>
                      <a:lnTo>
                        <a:pt x="445544" y="404434"/>
                      </a:lnTo>
                      <a:lnTo>
                        <a:pt x="526547" y="404434"/>
                      </a:lnTo>
                      <a:lnTo>
                        <a:pt x="526547" y="363994"/>
                      </a:lnTo>
                      <a:cubicBezTo>
                        <a:pt x="526547" y="341685"/>
                        <a:pt x="508388" y="323554"/>
                        <a:pt x="486046" y="323554"/>
                      </a:cubicBezTo>
                      <a:close/>
                      <a:moveTo>
                        <a:pt x="486046" y="303290"/>
                      </a:moveTo>
                      <a:cubicBezTo>
                        <a:pt x="519604" y="303290"/>
                        <a:pt x="546842" y="330576"/>
                        <a:pt x="546842" y="363994"/>
                      </a:cubicBezTo>
                      <a:lnTo>
                        <a:pt x="546842" y="404434"/>
                      </a:lnTo>
                      <a:lnTo>
                        <a:pt x="556990" y="404434"/>
                      </a:lnTo>
                      <a:cubicBezTo>
                        <a:pt x="584852" y="404434"/>
                        <a:pt x="607639" y="427098"/>
                        <a:pt x="607639" y="455006"/>
                      </a:cubicBezTo>
                      <a:lnTo>
                        <a:pt x="607639" y="556150"/>
                      </a:lnTo>
                      <a:cubicBezTo>
                        <a:pt x="607639" y="583969"/>
                        <a:pt x="584852" y="606722"/>
                        <a:pt x="556990" y="606722"/>
                      </a:cubicBezTo>
                      <a:lnTo>
                        <a:pt x="415190" y="606722"/>
                      </a:lnTo>
                      <a:cubicBezTo>
                        <a:pt x="387239" y="606722"/>
                        <a:pt x="364541" y="583969"/>
                        <a:pt x="364541" y="556150"/>
                      </a:cubicBezTo>
                      <a:lnTo>
                        <a:pt x="364541" y="455006"/>
                      </a:lnTo>
                      <a:cubicBezTo>
                        <a:pt x="364541" y="427098"/>
                        <a:pt x="387239" y="404434"/>
                        <a:pt x="415190" y="404434"/>
                      </a:cubicBezTo>
                      <a:lnTo>
                        <a:pt x="425338" y="404434"/>
                      </a:lnTo>
                      <a:lnTo>
                        <a:pt x="425338" y="363994"/>
                      </a:lnTo>
                      <a:cubicBezTo>
                        <a:pt x="425338" y="330576"/>
                        <a:pt x="452576" y="303290"/>
                        <a:pt x="486046" y="303290"/>
                      </a:cubicBezTo>
                      <a:close/>
                      <a:moveTo>
                        <a:pt x="111409" y="242745"/>
                      </a:moveTo>
                      <a:lnTo>
                        <a:pt x="293724" y="242745"/>
                      </a:lnTo>
                      <a:cubicBezTo>
                        <a:pt x="299244" y="242745"/>
                        <a:pt x="303784" y="247263"/>
                        <a:pt x="303784" y="252756"/>
                      </a:cubicBezTo>
                      <a:cubicBezTo>
                        <a:pt x="303784" y="258337"/>
                        <a:pt x="299244" y="262856"/>
                        <a:pt x="293724" y="262856"/>
                      </a:cubicBezTo>
                      <a:lnTo>
                        <a:pt x="111409" y="262856"/>
                      </a:lnTo>
                      <a:cubicBezTo>
                        <a:pt x="105801" y="262856"/>
                        <a:pt x="101261" y="258337"/>
                        <a:pt x="101261" y="252756"/>
                      </a:cubicBezTo>
                      <a:cubicBezTo>
                        <a:pt x="101261" y="247263"/>
                        <a:pt x="105801" y="242745"/>
                        <a:pt x="111409" y="242745"/>
                      </a:cubicBezTo>
                      <a:close/>
                      <a:moveTo>
                        <a:pt x="476008" y="242704"/>
                      </a:moveTo>
                      <a:cubicBezTo>
                        <a:pt x="470398" y="242704"/>
                        <a:pt x="465855" y="247240"/>
                        <a:pt x="465855" y="252756"/>
                      </a:cubicBezTo>
                      <a:cubicBezTo>
                        <a:pt x="465855" y="258360"/>
                        <a:pt x="470398" y="262897"/>
                        <a:pt x="476008" y="262897"/>
                      </a:cubicBezTo>
                      <a:cubicBezTo>
                        <a:pt x="481530" y="262897"/>
                        <a:pt x="486072" y="258360"/>
                        <a:pt x="486072" y="252756"/>
                      </a:cubicBezTo>
                      <a:cubicBezTo>
                        <a:pt x="486072" y="247240"/>
                        <a:pt x="481530" y="242704"/>
                        <a:pt x="476008" y="242704"/>
                      </a:cubicBezTo>
                      <a:close/>
                      <a:moveTo>
                        <a:pt x="394910" y="242704"/>
                      </a:moveTo>
                      <a:cubicBezTo>
                        <a:pt x="389388" y="242704"/>
                        <a:pt x="384846" y="247240"/>
                        <a:pt x="384846" y="252756"/>
                      </a:cubicBezTo>
                      <a:cubicBezTo>
                        <a:pt x="384846" y="258360"/>
                        <a:pt x="389388" y="262897"/>
                        <a:pt x="394910" y="262897"/>
                      </a:cubicBezTo>
                      <a:cubicBezTo>
                        <a:pt x="400520" y="262897"/>
                        <a:pt x="405062" y="258360"/>
                        <a:pt x="405062" y="252756"/>
                      </a:cubicBezTo>
                      <a:cubicBezTo>
                        <a:pt x="405062" y="247240"/>
                        <a:pt x="400520" y="242704"/>
                        <a:pt x="394910" y="242704"/>
                      </a:cubicBezTo>
                      <a:close/>
                      <a:moveTo>
                        <a:pt x="476008" y="222422"/>
                      </a:moveTo>
                      <a:cubicBezTo>
                        <a:pt x="492751" y="222422"/>
                        <a:pt x="506377" y="236032"/>
                        <a:pt x="506377" y="252756"/>
                      </a:cubicBezTo>
                      <a:cubicBezTo>
                        <a:pt x="506377" y="269568"/>
                        <a:pt x="492751" y="283179"/>
                        <a:pt x="476008" y="283179"/>
                      </a:cubicBezTo>
                      <a:cubicBezTo>
                        <a:pt x="459176" y="283179"/>
                        <a:pt x="445550" y="269568"/>
                        <a:pt x="445550" y="252756"/>
                      </a:cubicBezTo>
                      <a:cubicBezTo>
                        <a:pt x="445550" y="236032"/>
                        <a:pt x="459176" y="222422"/>
                        <a:pt x="476008" y="222422"/>
                      </a:cubicBezTo>
                      <a:close/>
                      <a:moveTo>
                        <a:pt x="394910" y="222422"/>
                      </a:moveTo>
                      <a:cubicBezTo>
                        <a:pt x="411742" y="222422"/>
                        <a:pt x="425368" y="236032"/>
                        <a:pt x="425368" y="252756"/>
                      </a:cubicBezTo>
                      <a:cubicBezTo>
                        <a:pt x="425368" y="269568"/>
                        <a:pt x="411742" y="283179"/>
                        <a:pt x="394910" y="283179"/>
                      </a:cubicBezTo>
                      <a:cubicBezTo>
                        <a:pt x="378167" y="283179"/>
                        <a:pt x="364541" y="269568"/>
                        <a:pt x="364541" y="252756"/>
                      </a:cubicBezTo>
                      <a:cubicBezTo>
                        <a:pt x="364541" y="236032"/>
                        <a:pt x="378167" y="222422"/>
                        <a:pt x="394910" y="222422"/>
                      </a:cubicBezTo>
                      <a:close/>
                      <a:moveTo>
                        <a:pt x="10146" y="161736"/>
                      </a:moveTo>
                      <a:lnTo>
                        <a:pt x="556988" y="161736"/>
                      </a:lnTo>
                      <a:cubicBezTo>
                        <a:pt x="562595" y="161736"/>
                        <a:pt x="567134" y="166268"/>
                        <a:pt x="567134" y="171866"/>
                      </a:cubicBezTo>
                      <a:cubicBezTo>
                        <a:pt x="567134" y="177464"/>
                        <a:pt x="562595" y="181996"/>
                        <a:pt x="556988" y="181996"/>
                      </a:cubicBezTo>
                      <a:lnTo>
                        <a:pt x="20293" y="181996"/>
                      </a:lnTo>
                      <a:lnTo>
                        <a:pt x="20293" y="293249"/>
                      </a:lnTo>
                      <a:cubicBezTo>
                        <a:pt x="20293" y="298758"/>
                        <a:pt x="15753" y="303290"/>
                        <a:pt x="10146" y="303290"/>
                      </a:cubicBezTo>
                      <a:cubicBezTo>
                        <a:pt x="4539" y="303290"/>
                        <a:pt x="0" y="298758"/>
                        <a:pt x="0" y="293249"/>
                      </a:cubicBezTo>
                      <a:lnTo>
                        <a:pt x="0" y="171866"/>
                      </a:lnTo>
                      <a:cubicBezTo>
                        <a:pt x="0" y="166268"/>
                        <a:pt x="4539" y="161736"/>
                        <a:pt x="10146" y="161736"/>
                      </a:cubicBezTo>
                      <a:close/>
                      <a:moveTo>
                        <a:pt x="111409" y="80868"/>
                      </a:moveTo>
                      <a:lnTo>
                        <a:pt x="293724" y="80868"/>
                      </a:lnTo>
                      <a:cubicBezTo>
                        <a:pt x="299244" y="80868"/>
                        <a:pt x="303784" y="85398"/>
                        <a:pt x="303784" y="90994"/>
                      </a:cubicBezTo>
                      <a:cubicBezTo>
                        <a:pt x="303784" y="96590"/>
                        <a:pt x="299244" y="101120"/>
                        <a:pt x="293724" y="101120"/>
                      </a:cubicBezTo>
                      <a:lnTo>
                        <a:pt x="111409" y="101120"/>
                      </a:lnTo>
                      <a:cubicBezTo>
                        <a:pt x="105801" y="101120"/>
                        <a:pt x="101261" y="96590"/>
                        <a:pt x="101261" y="90994"/>
                      </a:cubicBezTo>
                      <a:cubicBezTo>
                        <a:pt x="101261" y="85398"/>
                        <a:pt x="105801" y="80868"/>
                        <a:pt x="111409" y="80868"/>
                      </a:cubicBezTo>
                      <a:close/>
                      <a:moveTo>
                        <a:pt x="476008" y="80861"/>
                      </a:moveTo>
                      <a:cubicBezTo>
                        <a:pt x="470398" y="80861"/>
                        <a:pt x="465855" y="85394"/>
                        <a:pt x="465855" y="90994"/>
                      </a:cubicBezTo>
                      <a:cubicBezTo>
                        <a:pt x="465855" y="96593"/>
                        <a:pt x="470398" y="101126"/>
                        <a:pt x="476008" y="101126"/>
                      </a:cubicBezTo>
                      <a:cubicBezTo>
                        <a:pt x="481530" y="101126"/>
                        <a:pt x="486072" y="96593"/>
                        <a:pt x="486072" y="90994"/>
                      </a:cubicBezTo>
                      <a:cubicBezTo>
                        <a:pt x="486072" y="85394"/>
                        <a:pt x="481530" y="80861"/>
                        <a:pt x="476008" y="80861"/>
                      </a:cubicBezTo>
                      <a:close/>
                      <a:moveTo>
                        <a:pt x="394910" y="80861"/>
                      </a:moveTo>
                      <a:cubicBezTo>
                        <a:pt x="389388" y="80861"/>
                        <a:pt x="384846" y="85394"/>
                        <a:pt x="384846" y="90994"/>
                      </a:cubicBezTo>
                      <a:cubicBezTo>
                        <a:pt x="384846" y="96593"/>
                        <a:pt x="389388" y="101126"/>
                        <a:pt x="394910" y="101126"/>
                      </a:cubicBezTo>
                      <a:cubicBezTo>
                        <a:pt x="400520" y="101126"/>
                        <a:pt x="405062" y="96593"/>
                        <a:pt x="405062" y="90994"/>
                      </a:cubicBezTo>
                      <a:cubicBezTo>
                        <a:pt x="405062" y="85394"/>
                        <a:pt x="400520" y="80861"/>
                        <a:pt x="394910" y="80861"/>
                      </a:cubicBezTo>
                      <a:close/>
                      <a:moveTo>
                        <a:pt x="476008" y="60686"/>
                      </a:moveTo>
                      <a:cubicBezTo>
                        <a:pt x="492751" y="60686"/>
                        <a:pt x="506377" y="74284"/>
                        <a:pt x="506377" y="90994"/>
                      </a:cubicBezTo>
                      <a:cubicBezTo>
                        <a:pt x="506377" y="107703"/>
                        <a:pt x="492751" y="121302"/>
                        <a:pt x="476008" y="121302"/>
                      </a:cubicBezTo>
                      <a:cubicBezTo>
                        <a:pt x="459176" y="121302"/>
                        <a:pt x="445550" y="107703"/>
                        <a:pt x="445550" y="90994"/>
                      </a:cubicBezTo>
                      <a:cubicBezTo>
                        <a:pt x="445550" y="74284"/>
                        <a:pt x="459176" y="60686"/>
                        <a:pt x="476008" y="60686"/>
                      </a:cubicBezTo>
                      <a:close/>
                      <a:moveTo>
                        <a:pt x="394910" y="60686"/>
                      </a:moveTo>
                      <a:cubicBezTo>
                        <a:pt x="411742" y="60686"/>
                        <a:pt x="425368" y="74284"/>
                        <a:pt x="425368" y="90994"/>
                      </a:cubicBezTo>
                      <a:cubicBezTo>
                        <a:pt x="425368" y="107703"/>
                        <a:pt x="411742" y="121302"/>
                        <a:pt x="394910" y="121302"/>
                      </a:cubicBezTo>
                      <a:cubicBezTo>
                        <a:pt x="378167" y="121302"/>
                        <a:pt x="364541" y="107703"/>
                        <a:pt x="364541" y="90994"/>
                      </a:cubicBezTo>
                      <a:cubicBezTo>
                        <a:pt x="364541" y="74284"/>
                        <a:pt x="378167" y="60686"/>
                        <a:pt x="394910" y="60686"/>
                      </a:cubicBezTo>
                      <a:close/>
                      <a:moveTo>
                        <a:pt x="50644" y="0"/>
                      </a:moveTo>
                      <a:lnTo>
                        <a:pt x="556995" y="0"/>
                      </a:lnTo>
                      <a:cubicBezTo>
                        <a:pt x="582985" y="0"/>
                        <a:pt x="607639" y="24528"/>
                        <a:pt x="607639" y="50567"/>
                      </a:cubicBezTo>
                      <a:lnTo>
                        <a:pt x="607639" y="384277"/>
                      </a:lnTo>
                      <a:cubicBezTo>
                        <a:pt x="607639" y="389787"/>
                        <a:pt x="603100" y="394320"/>
                        <a:pt x="597493" y="394320"/>
                      </a:cubicBezTo>
                      <a:cubicBezTo>
                        <a:pt x="591885" y="394320"/>
                        <a:pt x="587346" y="389787"/>
                        <a:pt x="587346" y="384277"/>
                      </a:cubicBezTo>
                      <a:lnTo>
                        <a:pt x="587346" y="50567"/>
                      </a:lnTo>
                      <a:cubicBezTo>
                        <a:pt x="587346" y="35815"/>
                        <a:pt x="571770" y="20262"/>
                        <a:pt x="556995" y="20262"/>
                      </a:cubicBezTo>
                      <a:lnTo>
                        <a:pt x="50644" y="20262"/>
                      </a:lnTo>
                      <a:cubicBezTo>
                        <a:pt x="35869" y="20262"/>
                        <a:pt x="20293" y="35815"/>
                        <a:pt x="20293" y="50567"/>
                      </a:cubicBezTo>
                      <a:lnTo>
                        <a:pt x="20293" y="131440"/>
                      </a:lnTo>
                      <a:cubicBezTo>
                        <a:pt x="20293" y="137039"/>
                        <a:pt x="15754" y="141571"/>
                        <a:pt x="10146" y="141571"/>
                      </a:cubicBezTo>
                      <a:cubicBezTo>
                        <a:pt x="4539" y="141571"/>
                        <a:pt x="0" y="137039"/>
                        <a:pt x="0" y="131440"/>
                      </a:cubicBezTo>
                      <a:lnTo>
                        <a:pt x="0" y="50567"/>
                      </a:lnTo>
                      <a:cubicBezTo>
                        <a:pt x="0" y="24528"/>
                        <a:pt x="24565" y="0"/>
                        <a:pt x="5064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</p:sp>
            <p:sp>
              <p:nvSpPr>
                <p:cNvPr id="60" name="server_182394"/>
                <p:cNvSpPr>
                  <a:spLocks noChangeAspect="1"/>
                </p:cNvSpPr>
                <p:nvPr/>
              </p:nvSpPr>
              <p:spPr bwMode="auto">
                <a:xfrm>
                  <a:off x="1339163" y="990520"/>
                  <a:ext cx="306463" cy="306000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  <a:gd name="connsiteX68" fmla="*/ 325000 h 606722"/>
                    <a:gd name="connsiteY68" fmla="*/ 325000 h 606722"/>
                    <a:gd name="connsiteX69" fmla="*/ 325000 h 606722"/>
                    <a:gd name="connsiteY69" fmla="*/ 325000 h 606722"/>
                    <a:gd name="connsiteX70" fmla="*/ 325000 h 606722"/>
                    <a:gd name="connsiteY70" fmla="*/ 325000 h 606722"/>
                    <a:gd name="connsiteX71" fmla="*/ 325000 h 606722"/>
                    <a:gd name="connsiteY71" fmla="*/ 325000 h 606722"/>
                    <a:gd name="connsiteX72" fmla="*/ 325000 h 606722"/>
                    <a:gd name="connsiteY72" fmla="*/ 325000 h 606722"/>
                    <a:gd name="connsiteX73" fmla="*/ 325000 h 606722"/>
                    <a:gd name="connsiteY73" fmla="*/ 325000 h 606722"/>
                    <a:gd name="connsiteX74" fmla="*/ 325000 h 606722"/>
                    <a:gd name="connsiteY74" fmla="*/ 325000 h 606722"/>
                    <a:gd name="connsiteX75" fmla="*/ 325000 h 606722"/>
                    <a:gd name="connsiteY75" fmla="*/ 325000 h 606722"/>
                    <a:gd name="connsiteX76" fmla="*/ 325000 h 606722"/>
                    <a:gd name="connsiteY76" fmla="*/ 325000 h 606722"/>
                    <a:gd name="connsiteX77" fmla="*/ 325000 h 606722"/>
                    <a:gd name="connsiteY77" fmla="*/ 325000 h 606722"/>
                    <a:gd name="connsiteX78" fmla="*/ 325000 h 606722"/>
                    <a:gd name="connsiteY78" fmla="*/ 325000 h 606722"/>
                    <a:gd name="connsiteX79" fmla="*/ 325000 h 606722"/>
                    <a:gd name="connsiteY79" fmla="*/ 325000 h 606722"/>
                    <a:gd name="connsiteX80" fmla="*/ 325000 h 606722"/>
                    <a:gd name="connsiteY80" fmla="*/ 325000 h 606722"/>
                    <a:gd name="connsiteX81" fmla="*/ 325000 h 606722"/>
                    <a:gd name="connsiteY81" fmla="*/ 325000 h 606722"/>
                    <a:gd name="connsiteX82" fmla="*/ 325000 h 606722"/>
                    <a:gd name="connsiteY82" fmla="*/ 325000 h 606722"/>
                    <a:gd name="connsiteX83" fmla="*/ 325000 h 606722"/>
                    <a:gd name="connsiteY83" fmla="*/ 325000 h 606722"/>
                    <a:gd name="connsiteX84" fmla="*/ 325000 h 606722"/>
                    <a:gd name="connsiteY84" fmla="*/ 325000 h 606722"/>
                    <a:gd name="connsiteX85" fmla="*/ 325000 h 606722"/>
                    <a:gd name="connsiteY85" fmla="*/ 325000 h 606722"/>
                    <a:gd name="connsiteX86" fmla="*/ 325000 h 606722"/>
                    <a:gd name="connsiteY86" fmla="*/ 325000 h 606722"/>
                    <a:gd name="connsiteX87" fmla="*/ 325000 h 606722"/>
                    <a:gd name="connsiteY87" fmla="*/ 325000 h 606722"/>
                    <a:gd name="connsiteX88" fmla="*/ 325000 h 606722"/>
                    <a:gd name="connsiteY88" fmla="*/ 325000 h 606722"/>
                    <a:gd name="connsiteX89" fmla="*/ 325000 h 606722"/>
                    <a:gd name="connsiteY89" fmla="*/ 325000 h 606722"/>
                    <a:gd name="connsiteX90" fmla="*/ 325000 h 606722"/>
                    <a:gd name="connsiteY90" fmla="*/ 325000 h 606722"/>
                    <a:gd name="connsiteX91" fmla="*/ 325000 h 606722"/>
                    <a:gd name="connsiteY91" fmla="*/ 325000 h 606722"/>
                    <a:gd name="connsiteX92" fmla="*/ 325000 h 606722"/>
                    <a:gd name="connsiteY92" fmla="*/ 325000 h 606722"/>
                    <a:gd name="connsiteX93" fmla="*/ 325000 h 606722"/>
                    <a:gd name="connsiteY93" fmla="*/ 325000 h 606722"/>
                    <a:gd name="connsiteX94" fmla="*/ 325000 h 606722"/>
                    <a:gd name="connsiteY94" fmla="*/ 325000 h 606722"/>
                    <a:gd name="connsiteX95" fmla="*/ 325000 h 606722"/>
                    <a:gd name="connsiteY95" fmla="*/ 325000 h 606722"/>
                    <a:gd name="connsiteX96" fmla="*/ 325000 h 606722"/>
                    <a:gd name="connsiteY96" fmla="*/ 325000 h 606722"/>
                    <a:gd name="connsiteX97" fmla="*/ 325000 h 606722"/>
                    <a:gd name="connsiteY97" fmla="*/ 325000 h 606722"/>
                    <a:gd name="connsiteX98" fmla="*/ 325000 h 606722"/>
                    <a:gd name="connsiteY98" fmla="*/ 325000 h 606722"/>
                    <a:gd name="connsiteX99" fmla="*/ 325000 h 606722"/>
                    <a:gd name="connsiteY99" fmla="*/ 325000 h 606722"/>
                    <a:gd name="connsiteX100" fmla="*/ 325000 h 606722"/>
                    <a:gd name="connsiteY100" fmla="*/ 325000 h 606722"/>
                    <a:gd name="connsiteX101" fmla="*/ 325000 h 606722"/>
                    <a:gd name="connsiteY101" fmla="*/ 325000 h 606722"/>
                    <a:gd name="connsiteX102" fmla="*/ 325000 h 606722"/>
                    <a:gd name="connsiteY102" fmla="*/ 325000 h 606722"/>
                    <a:gd name="connsiteX103" fmla="*/ 325000 h 606722"/>
                    <a:gd name="connsiteY103" fmla="*/ 325000 h 606722"/>
                    <a:gd name="connsiteX104" fmla="*/ 325000 h 606722"/>
                    <a:gd name="connsiteY104" fmla="*/ 325000 h 606722"/>
                    <a:gd name="connsiteX105" fmla="*/ 325000 h 606722"/>
                    <a:gd name="connsiteY105" fmla="*/ 325000 h 606722"/>
                    <a:gd name="connsiteX106" fmla="*/ 325000 h 606722"/>
                    <a:gd name="connsiteY106" fmla="*/ 325000 h 606722"/>
                    <a:gd name="connsiteX107" fmla="*/ 325000 h 606722"/>
                    <a:gd name="connsiteY107" fmla="*/ 325000 h 606722"/>
                    <a:gd name="connsiteX108" fmla="*/ 325000 h 606722"/>
                    <a:gd name="connsiteY108" fmla="*/ 325000 h 606722"/>
                    <a:gd name="connsiteX109" fmla="*/ 325000 h 606722"/>
                    <a:gd name="connsiteY109" fmla="*/ 325000 h 606722"/>
                    <a:gd name="connsiteX110" fmla="*/ 325000 h 606722"/>
                    <a:gd name="connsiteY110" fmla="*/ 325000 h 606722"/>
                    <a:gd name="connsiteX111" fmla="*/ 325000 h 606722"/>
                    <a:gd name="connsiteY111" fmla="*/ 325000 h 606722"/>
                    <a:gd name="connsiteX112" fmla="*/ 325000 h 606722"/>
                    <a:gd name="connsiteY112" fmla="*/ 325000 h 606722"/>
                    <a:gd name="connsiteX113" fmla="*/ 325000 h 606722"/>
                    <a:gd name="connsiteY113" fmla="*/ 325000 h 606722"/>
                    <a:gd name="connsiteX114" fmla="*/ 325000 h 606722"/>
                    <a:gd name="connsiteY114" fmla="*/ 325000 h 606722"/>
                    <a:gd name="connsiteX115" fmla="*/ 325000 h 606722"/>
                    <a:gd name="connsiteY115" fmla="*/ 325000 h 606722"/>
                    <a:gd name="connsiteX116" fmla="*/ 325000 h 606722"/>
                    <a:gd name="connsiteY116" fmla="*/ 325000 h 606722"/>
                    <a:gd name="connsiteX117" fmla="*/ 325000 h 606722"/>
                    <a:gd name="connsiteY117" fmla="*/ 325000 h 606722"/>
                    <a:gd name="connsiteX118" fmla="*/ 325000 h 606722"/>
                    <a:gd name="connsiteY118" fmla="*/ 325000 h 606722"/>
                    <a:gd name="connsiteX119" fmla="*/ 325000 h 606722"/>
                    <a:gd name="connsiteY119" fmla="*/ 325000 h 606722"/>
                    <a:gd name="connsiteX120" fmla="*/ 325000 h 606722"/>
                    <a:gd name="connsiteY120" fmla="*/ 325000 h 606722"/>
                    <a:gd name="connsiteX121" fmla="*/ 325000 h 606722"/>
                    <a:gd name="connsiteY121" fmla="*/ 325000 h 606722"/>
                    <a:gd name="connsiteX122" fmla="*/ 325000 h 606722"/>
                    <a:gd name="connsiteY122" fmla="*/ 325000 h 606722"/>
                    <a:gd name="connsiteX123" fmla="*/ 325000 h 606722"/>
                    <a:gd name="connsiteY123" fmla="*/ 325000 h 606722"/>
                    <a:gd name="connsiteX124" fmla="*/ 325000 h 606722"/>
                    <a:gd name="connsiteY124" fmla="*/ 325000 h 606722"/>
                    <a:gd name="connsiteX125" fmla="*/ 325000 h 606722"/>
                    <a:gd name="connsiteY125" fmla="*/ 325000 h 606722"/>
                    <a:gd name="connsiteX126" fmla="*/ 325000 h 606722"/>
                    <a:gd name="connsiteY126" fmla="*/ 325000 h 606722"/>
                    <a:gd name="connsiteX127" fmla="*/ 325000 h 606722"/>
                    <a:gd name="connsiteY127" fmla="*/ 325000 h 606722"/>
                    <a:gd name="connsiteX128" fmla="*/ 325000 h 606722"/>
                    <a:gd name="connsiteY128" fmla="*/ 325000 h 606722"/>
                    <a:gd name="connsiteX129" fmla="*/ 325000 h 606722"/>
                    <a:gd name="connsiteY129" fmla="*/ 325000 h 606722"/>
                    <a:gd name="connsiteX130" fmla="*/ 325000 h 606722"/>
                    <a:gd name="connsiteY130" fmla="*/ 325000 h 606722"/>
                    <a:gd name="connsiteX131" fmla="*/ 325000 h 606722"/>
                    <a:gd name="connsiteY131" fmla="*/ 325000 h 606722"/>
                    <a:gd name="connsiteX132" fmla="*/ 325000 h 606722"/>
                    <a:gd name="connsiteY132" fmla="*/ 325000 h 606722"/>
                    <a:gd name="connsiteX133" fmla="*/ 325000 h 606722"/>
                    <a:gd name="connsiteY133" fmla="*/ 325000 h 606722"/>
                    <a:gd name="connsiteX134" fmla="*/ 325000 h 606722"/>
                    <a:gd name="connsiteY134" fmla="*/ 325000 h 606722"/>
                    <a:gd name="connsiteX135" fmla="*/ 325000 h 606722"/>
                    <a:gd name="connsiteY135" fmla="*/ 325000 h 606722"/>
                    <a:gd name="connsiteX136" fmla="*/ 325000 h 606722"/>
                    <a:gd name="connsiteY136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</a:cxnLst>
                  <a:rect l="l" t="t" r="r" b="b"/>
                  <a:pathLst>
                    <a:path w="607639" h="606722">
                      <a:moveTo>
                        <a:pt x="486081" y="475259"/>
                      </a:moveTo>
                      <a:cubicBezTo>
                        <a:pt x="497298" y="475259"/>
                        <a:pt x="506378" y="484329"/>
                        <a:pt x="506378" y="495443"/>
                      </a:cubicBezTo>
                      <a:cubicBezTo>
                        <a:pt x="506378" y="502912"/>
                        <a:pt x="502283" y="509403"/>
                        <a:pt x="496230" y="512871"/>
                      </a:cubicBezTo>
                      <a:lnTo>
                        <a:pt x="496230" y="535900"/>
                      </a:lnTo>
                      <a:cubicBezTo>
                        <a:pt x="496230" y="541502"/>
                        <a:pt x="491690" y="546036"/>
                        <a:pt x="486081" y="546036"/>
                      </a:cubicBezTo>
                      <a:cubicBezTo>
                        <a:pt x="480562" y="546036"/>
                        <a:pt x="476022" y="541502"/>
                        <a:pt x="476022" y="535900"/>
                      </a:cubicBezTo>
                      <a:lnTo>
                        <a:pt x="476022" y="512871"/>
                      </a:lnTo>
                      <a:cubicBezTo>
                        <a:pt x="469968" y="509403"/>
                        <a:pt x="465873" y="502912"/>
                        <a:pt x="465873" y="495443"/>
                      </a:cubicBezTo>
                      <a:cubicBezTo>
                        <a:pt x="465873" y="484329"/>
                        <a:pt x="474953" y="475259"/>
                        <a:pt x="486081" y="475259"/>
                      </a:cubicBezTo>
                      <a:close/>
                      <a:moveTo>
                        <a:pt x="415190" y="424698"/>
                      </a:moveTo>
                      <a:cubicBezTo>
                        <a:pt x="398455" y="424698"/>
                        <a:pt x="384836" y="438297"/>
                        <a:pt x="384836" y="455006"/>
                      </a:cubicBezTo>
                      <a:lnTo>
                        <a:pt x="384836" y="556150"/>
                      </a:lnTo>
                      <a:cubicBezTo>
                        <a:pt x="384836" y="572859"/>
                        <a:pt x="398455" y="586458"/>
                        <a:pt x="415190" y="586458"/>
                      </a:cubicBezTo>
                      <a:lnTo>
                        <a:pt x="556990" y="586458"/>
                      </a:lnTo>
                      <a:cubicBezTo>
                        <a:pt x="573725" y="586458"/>
                        <a:pt x="587344" y="572859"/>
                        <a:pt x="587344" y="556150"/>
                      </a:cubicBezTo>
                      <a:lnTo>
                        <a:pt x="587344" y="455006"/>
                      </a:lnTo>
                      <a:cubicBezTo>
                        <a:pt x="587344" y="438297"/>
                        <a:pt x="573725" y="424698"/>
                        <a:pt x="556990" y="424698"/>
                      </a:cubicBezTo>
                      <a:close/>
                      <a:moveTo>
                        <a:pt x="111409" y="404481"/>
                      </a:moveTo>
                      <a:lnTo>
                        <a:pt x="293724" y="404481"/>
                      </a:lnTo>
                      <a:cubicBezTo>
                        <a:pt x="299244" y="404481"/>
                        <a:pt x="303784" y="409011"/>
                        <a:pt x="303784" y="414607"/>
                      </a:cubicBezTo>
                      <a:cubicBezTo>
                        <a:pt x="303784" y="420203"/>
                        <a:pt x="299244" y="424733"/>
                        <a:pt x="293724" y="424733"/>
                      </a:cubicBezTo>
                      <a:lnTo>
                        <a:pt x="111409" y="424733"/>
                      </a:lnTo>
                      <a:cubicBezTo>
                        <a:pt x="105801" y="424733"/>
                        <a:pt x="101261" y="420203"/>
                        <a:pt x="101261" y="414607"/>
                      </a:cubicBezTo>
                      <a:cubicBezTo>
                        <a:pt x="101261" y="409011"/>
                        <a:pt x="105801" y="404481"/>
                        <a:pt x="111409" y="404481"/>
                      </a:cubicBezTo>
                      <a:close/>
                      <a:moveTo>
                        <a:pt x="10146" y="323613"/>
                      </a:moveTo>
                      <a:lnTo>
                        <a:pt x="394900" y="323613"/>
                      </a:lnTo>
                      <a:cubicBezTo>
                        <a:pt x="400507" y="323613"/>
                        <a:pt x="405046" y="328145"/>
                        <a:pt x="405046" y="333743"/>
                      </a:cubicBezTo>
                      <a:cubicBezTo>
                        <a:pt x="405046" y="339252"/>
                        <a:pt x="400507" y="343784"/>
                        <a:pt x="394900" y="343784"/>
                      </a:cubicBezTo>
                      <a:lnTo>
                        <a:pt x="20292" y="343784"/>
                      </a:lnTo>
                      <a:lnTo>
                        <a:pt x="20292" y="455039"/>
                      </a:lnTo>
                      <a:cubicBezTo>
                        <a:pt x="20292" y="469790"/>
                        <a:pt x="35867" y="485341"/>
                        <a:pt x="50642" y="485341"/>
                      </a:cubicBezTo>
                      <a:lnTo>
                        <a:pt x="334201" y="485341"/>
                      </a:lnTo>
                      <a:cubicBezTo>
                        <a:pt x="339719" y="485341"/>
                        <a:pt x="344258" y="489873"/>
                        <a:pt x="344258" y="495471"/>
                      </a:cubicBezTo>
                      <a:cubicBezTo>
                        <a:pt x="344258" y="501069"/>
                        <a:pt x="339719" y="505601"/>
                        <a:pt x="334201" y="505601"/>
                      </a:cubicBezTo>
                      <a:lnTo>
                        <a:pt x="50642" y="505601"/>
                      </a:lnTo>
                      <a:cubicBezTo>
                        <a:pt x="24564" y="505601"/>
                        <a:pt x="0" y="480987"/>
                        <a:pt x="0" y="455039"/>
                      </a:cubicBezTo>
                      <a:lnTo>
                        <a:pt x="0" y="333743"/>
                      </a:lnTo>
                      <a:cubicBezTo>
                        <a:pt x="0" y="328145"/>
                        <a:pt x="4539" y="323613"/>
                        <a:pt x="10146" y="323613"/>
                      </a:cubicBezTo>
                      <a:close/>
                      <a:moveTo>
                        <a:pt x="486046" y="323554"/>
                      </a:moveTo>
                      <a:cubicBezTo>
                        <a:pt x="463703" y="323554"/>
                        <a:pt x="445544" y="341685"/>
                        <a:pt x="445544" y="363994"/>
                      </a:cubicBezTo>
                      <a:lnTo>
                        <a:pt x="445544" y="404434"/>
                      </a:lnTo>
                      <a:lnTo>
                        <a:pt x="526547" y="404434"/>
                      </a:lnTo>
                      <a:lnTo>
                        <a:pt x="526547" y="363994"/>
                      </a:lnTo>
                      <a:cubicBezTo>
                        <a:pt x="526547" y="341685"/>
                        <a:pt x="508388" y="323554"/>
                        <a:pt x="486046" y="323554"/>
                      </a:cubicBezTo>
                      <a:close/>
                      <a:moveTo>
                        <a:pt x="486046" y="303290"/>
                      </a:moveTo>
                      <a:cubicBezTo>
                        <a:pt x="519604" y="303290"/>
                        <a:pt x="546842" y="330576"/>
                        <a:pt x="546842" y="363994"/>
                      </a:cubicBezTo>
                      <a:lnTo>
                        <a:pt x="546842" y="404434"/>
                      </a:lnTo>
                      <a:lnTo>
                        <a:pt x="556990" y="404434"/>
                      </a:lnTo>
                      <a:cubicBezTo>
                        <a:pt x="584852" y="404434"/>
                        <a:pt x="607639" y="427098"/>
                        <a:pt x="607639" y="455006"/>
                      </a:cubicBezTo>
                      <a:lnTo>
                        <a:pt x="607639" y="556150"/>
                      </a:lnTo>
                      <a:cubicBezTo>
                        <a:pt x="607639" y="583969"/>
                        <a:pt x="584852" y="606722"/>
                        <a:pt x="556990" y="606722"/>
                      </a:cubicBezTo>
                      <a:lnTo>
                        <a:pt x="415190" y="606722"/>
                      </a:lnTo>
                      <a:cubicBezTo>
                        <a:pt x="387239" y="606722"/>
                        <a:pt x="364541" y="583969"/>
                        <a:pt x="364541" y="556150"/>
                      </a:cubicBezTo>
                      <a:lnTo>
                        <a:pt x="364541" y="455006"/>
                      </a:lnTo>
                      <a:cubicBezTo>
                        <a:pt x="364541" y="427098"/>
                        <a:pt x="387239" y="404434"/>
                        <a:pt x="415190" y="404434"/>
                      </a:cubicBezTo>
                      <a:lnTo>
                        <a:pt x="425338" y="404434"/>
                      </a:lnTo>
                      <a:lnTo>
                        <a:pt x="425338" y="363994"/>
                      </a:lnTo>
                      <a:cubicBezTo>
                        <a:pt x="425338" y="330576"/>
                        <a:pt x="452576" y="303290"/>
                        <a:pt x="486046" y="303290"/>
                      </a:cubicBezTo>
                      <a:close/>
                      <a:moveTo>
                        <a:pt x="111409" y="242745"/>
                      </a:moveTo>
                      <a:lnTo>
                        <a:pt x="293724" y="242745"/>
                      </a:lnTo>
                      <a:cubicBezTo>
                        <a:pt x="299244" y="242745"/>
                        <a:pt x="303784" y="247263"/>
                        <a:pt x="303784" y="252756"/>
                      </a:cubicBezTo>
                      <a:cubicBezTo>
                        <a:pt x="303784" y="258337"/>
                        <a:pt x="299244" y="262856"/>
                        <a:pt x="293724" y="262856"/>
                      </a:cubicBezTo>
                      <a:lnTo>
                        <a:pt x="111409" y="262856"/>
                      </a:lnTo>
                      <a:cubicBezTo>
                        <a:pt x="105801" y="262856"/>
                        <a:pt x="101261" y="258337"/>
                        <a:pt x="101261" y="252756"/>
                      </a:cubicBezTo>
                      <a:cubicBezTo>
                        <a:pt x="101261" y="247263"/>
                        <a:pt x="105801" y="242745"/>
                        <a:pt x="111409" y="242745"/>
                      </a:cubicBezTo>
                      <a:close/>
                      <a:moveTo>
                        <a:pt x="476008" y="242704"/>
                      </a:moveTo>
                      <a:cubicBezTo>
                        <a:pt x="470398" y="242704"/>
                        <a:pt x="465855" y="247240"/>
                        <a:pt x="465855" y="252756"/>
                      </a:cubicBezTo>
                      <a:cubicBezTo>
                        <a:pt x="465855" y="258360"/>
                        <a:pt x="470398" y="262897"/>
                        <a:pt x="476008" y="262897"/>
                      </a:cubicBezTo>
                      <a:cubicBezTo>
                        <a:pt x="481530" y="262897"/>
                        <a:pt x="486072" y="258360"/>
                        <a:pt x="486072" y="252756"/>
                      </a:cubicBezTo>
                      <a:cubicBezTo>
                        <a:pt x="486072" y="247240"/>
                        <a:pt x="481530" y="242704"/>
                        <a:pt x="476008" y="242704"/>
                      </a:cubicBezTo>
                      <a:close/>
                      <a:moveTo>
                        <a:pt x="394910" y="242704"/>
                      </a:moveTo>
                      <a:cubicBezTo>
                        <a:pt x="389388" y="242704"/>
                        <a:pt x="384846" y="247240"/>
                        <a:pt x="384846" y="252756"/>
                      </a:cubicBezTo>
                      <a:cubicBezTo>
                        <a:pt x="384846" y="258360"/>
                        <a:pt x="389388" y="262897"/>
                        <a:pt x="394910" y="262897"/>
                      </a:cubicBezTo>
                      <a:cubicBezTo>
                        <a:pt x="400520" y="262897"/>
                        <a:pt x="405062" y="258360"/>
                        <a:pt x="405062" y="252756"/>
                      </a:cubicBezTo>
                      <a:cubicBezTo>
                        <a:pt x="405062" y="247240"/>
                        <a:pt x="400520" y="242704"/>
                        <a:pt x="394910" y="242704"/>
                      </a:cubicBezTo>
                      <a:close/>
                      <a:moveTo>
                        <a:pt x="476008" y="222422"/>
                      </a:moveTo>
                      <a:cubicBezTo>
                        <a:pt x="492751" y="222422"/>
                        <a:pt x="506377" y="236032"/>
                        <a:pt x="506377" y="252756"/>
                      </a:cubicBezTo>
                      <a:cubicBezTo>
                        <a:pt x="506377" y="269568"/>
                        <a:pt x="492751" y="283179"/>
                        <a:pt x="476008" y="283179"/>
                      </a:cubicBezTo>
                      <a:cubicBezTo>
                        <a:pt x="459176" y="283179"/>
                        <a:pt x="445550" y="269568"/>
                        <a:pt x="445550" y="252756"/>
                      </a:cubicBezTo>
                      <a:cubicBezTo>
                        <a:pt x="445550" y="236032"/>
                        <a:pt x="459176" y="222422"/>
                        <a:pt x="476008" y="222422"/>
                      </a:cubicBezTo>
                      <a:close/>
                      <a:moveTo>
                        <a:pt x="394910" y="222422"/>
                      </a:moveTo>
                      <a:cubicBezTo>
                        <a:pt x="411742" y="222422"/>
                        <a:pt x="425368" y="236032"/>
                        <a:pt x="425368" y="252756"/>
                      </a:cubicBezTo>
                      <a:cubicBezTo>
                        <a:pt x="425368" y="269568"/>
                        <a:pt x="411742" y="283179"/>
                        <a:pt x="394910" y="283179"/>
                      </a:cubicBezTo>
                      <a:cubicBezTo>
                        <a:pt x="378167" y="283179"/>
                        <a:pt x="364541" y="269568"/>
                        <a:pt x="364541" y="252756"/>
                      </a:cubicBezTo>
                      <a:cubicBezTo>
                        <a:pt x="364541" y="236032"/>
                        <a:pt x="378167" y="222422"/>
                        <a:pt x="394910" y="222422"/>
                      </a:cubicBezTo>
                      <a:close/>
                      <a:moveTo>
                        <a:pt x="10146" y="161736"/>
                      </a:moveTo>
                      <a:lnTo>
                        <a:pt x="556988" y="161736"/>
                      </a:lnTo>
                      <a:cubicBezTo>
                        <a:pt x="562595" y="161736"/>
                        <a:pt x="567134" y="166268"/>
                        <a:pt x="567134" y="171866"/>
                      </a:cubicBezTo>
                      <a:cubicBezTo>
                        <a:pt x="567134" y="177464"/>
                        <a:pt x="562595" y="181996"/>
                        <a:pt x="556988" y="181996"/>
                      </a:cubicBezTo>
                      <a:lnTo>
                        <a:pt x="20293" y="181996"/>
                      </a:lnTo>
                      <a:lnTo>
                        <a:pt x="20293" y="293249"/>
                      </a:lnTo>
                      <a:cubicBezTo>
                        <a:pt x="20293" y="298758"/>
                        <a:pt x="15753" y="303290"/>
                        <a:pt x="10146" y="303290"/>
                      </a:cubicBezTo>
                      <a:cubicBezTo>
                        <a:pt x="4539" y="303290"/>
                        <a:pt x="0" y="298758"/>
                        <a:pt x="0" y="293249"/>
                      </a:cubicBezTo>
                      <a:lnTo>
                        <a:pt x="0" y="171866"/>
                      </a:lnTo>
                      <a:cubicBezTo>
                        <a:pt x="0" y="166268"/>
                        <a:pt x="4539" y="161736"/>
                        <a:pt x="10146" y="161736"/>
                      </a:cubicBezTo>
                      <a:close/>
                      <a:moveTo>
                        <a:pt x="111409" y="80868"/>
                      </a:moveTo>
                      <a:lnTo>
                        <a:pt x="293724" y="80868"/>
                      </a:lnTo>
                      <a:cubicBezTo>
                        <a:pt x="299244" y="80868"/>
                        <a:pt x="303784" y="85398"/>
                        <a:pt x="303784" y="90994"/>
                      </a:cubicBezTo>
                      <a:cubicBezTo>
                        <a:pt x="303784" y="96590"/>
                        <a:pt x="299244" y="101120"/>
                        <a:pt x="293724" y="101120"/>
                      </a:cubicBezTo>
                      <a:lnTo>
                        <a:pt x="111409" y="101120"/>
                      </a:lnTo>
                      <a:cubicBezTo>
                        <a:pt x="105801" y="101120"/>
                        <a:pt x="101261" y="96590"/>
                        <a:pt x="101261" y="90994"/>
                      </a:cubicBezTo>
                      <a:cubicBezTo>
                        <a:pt x="101261" y="85398"/>
                        <a:pt x="105801" y="80868"/>
                        <a:pt x="111409" y="80868"/>
                      </a:cubicBezTo>
                      <a:close/>
                      <a:moveTo>
                        <a:pt x="476008" y="80861"/>
                      </a:moveTo>
                      <a:cubicBezTo>
                        <a:pt x="470398" y="80861"/>
                        <a:pt x="465855" y="85394"/>
                        <a:pt x="465855" y="90994"/>
                      </a:cubicBezTo>
                      <a:cubicBezTo>
                        <a:pt x="465855" y="96593"/>
                        <a:pt x="470398" y="101126"/>
                        <a:pt x="476008" y="101126"/>
                      </a:cubicBezTo>
                      <a:cubicBezTo>
                        <a:pt x="481530" y="101126"/>
                        <a:pt x="486072" y="96593"/>
                        <a:pt x="486072" y="90994"/>
                      </a:cubicBezTo>
                      <a:cubicBezTo>
                        <a:pt x="486072" y="85394"/>
                        <a:pt x="481530" y="80861"/>
                        <a:pt x="476008" y="80861"/>
                      </a:cubicBezTo>
                      <a:close/>
                      <a:moveTo>
                        <a:pt x="394910" y="80861"/>
                      </a:moveTo>
                      <a:cubicBezTo>
                        <a:pt x="389388" y="80861"/>
                        <a:pt x="384846" y="85394"/>
                        <a:pt x="384846" y="90994"/>
                      </a:cubicBezTo>
                      <a:cubicBezTo>
                        <a:pt x="384846" y="96593"/>
                        <a:pt x="389388" y="101126"/>
                        <a:pt x="394910" y="101126"/>
                      </a:cubicBezTo>
                      <a:cubicBezTo>
                        <a:pt x="400520" y="101126"/>
                        <a:pt x="405062" y="96593"/>
                        <a:pt x="405062" y="90994"/>
                      </a:cubicBezTo>
                      <a:cubicBezTo>
                        <a:pt x="405062" y="85394"/>
                        <a:pt x="400520" y="80861"/>
                        <a:pt x="394910" y="80861"/>
                      </a:cubicBezTo>
                      <a:close/>
                      <a:moveTo>
                        <a:pt x="476008" y="60686"/>
                      </a:moveTo>
                      <a:cubicBezTo>
                        <a:pt x="492751" y="60686"/>
                        <a:pt x="506377" y="74284"/>
                        <a:pt x="506377" y="90994"/>
                      </a:cubicBezTo>
                      <a:cubicBezTo>
                        <a:pt x="506377" y="107703"/>
                        <a:pt x="492751" y="121302"/>
                        <a:pt x="476008" y="121302"/>
                      </a:cubicBezTo>
                      <a:cubicBezTo>
                        <a:pt x="459176" y="121302"/>
                        <a:pt x="445550" y="107703"/>
                        <a:pt x="445550" y="90994"/>
                      </a:cubicBezTo>
                      <a:cubicBezTo>
                        <a:pt x="445550" y="74284"/>
                        <a:pt x="459176" y="60686"/>
                        <a:pt x="476008" y="60686"/>
                      </a:cubicBezTo>
                      <a:close/>
                      <a:moveTo>
                        <a:pt x="394910" y="60686"/>
                      </a:moveTo>
                      <a:cubicBezTo>
                        <a:pt x="411742" y="60686"/>
                        <a:pt x="425368" y="74284"/>
                        <a:pt x="425368" y="90994"/>
                      </a:cubicBezTo>
                      <a:cubicBezTo>
                        <a:pt x="425368" y="107703"/>
                        <a:pt x="411742" y="121302"/>
                        <a:pt x="394910" y="121302"/>
                      </a:cubicBezTo>
                      <a:cubicBezTo>
                        <a:pt x="378167" y="121302"/>
                        <a:pt x="364541" y="107703"/>
                        <a:pt x="364541" y="90994"/>
                      </a:cubicBezTo>
                      <a:cubicBezTo>
                        <a:pt x="364541" y="74284"/>
                        <a:pt x="378167" y="60686"/>
                        <a:pt x="394910" y="60686"/>
                      </a:cubicBezTo>
                      <a:close/>
                      <a:moveTo>
                        <a:pt x="50644" y="0"/>
                      </a:moveTo>
                      <a:lnTo>
                        <a:pt x="556995" y="0"/>
                      </a:lnTo>
                      <a:cubicBezTo>
                        <a:pt x="582985" y="0"/>
                        <a:pt x="607639" y="24528"/>
                        <a:pt x="607639" y="50567"/>
                      </a:cubicBezTo>
                      <a:lnTo>
                        <a:pt x="607639" y="384277"/>
                      </a:lnTo>
                      <a:cubicBezTo>
                        <a:pt x="607639" y="389787"/>
                        <a:pt x="603100" y="394320"/>
                        <a:pt x="597493" y="394320"/>
                      </a:cubicBezTo>
                      <a:cubicBezTo>
                        <a:pt x="591885" y="394320"/>
                        <a:pt x="587346" y="389787"/>
                        <a:pt x="587346" y="384277"/>
                      </a:cubicBezTo>
                      <a:lnTo>
                        <a:pt x="587346" y="50567"/>
                      </a:lnTo>
                      <a:cubicBezTo>
                        <a:pt x="587346" y="35815"/>
                        <a:pt x="571770" y="20262"/>
                        <a:pt x="556995" y="20262"/>
                      </a:cubicBezTo>
                      <a:lnTo>
                        <a:pt x="50644" y="20262"/>
                      </a:lnTo>
                      <a:cubicBezTo>
                        <a:pt x="35869" y="20262"/>
                        <a:pt x="20293" y="35815"/>
                        <a:pt x="20293" y="50567"/>
                      </a:cubicBezTo>
                      <a:lnTo>
                        <a:pt x="20293" y="131440"/>
                      </a:lnTo>
                      <a:cubicBezTo>
                        <a:pt x="20293" y="137039"/>
                        <a:pt x="15754" y="141571"/>
                        <a:pt x="10146" y="141571"/>
                      </a:cubicBezTo>
                      <a:cubicBezTo>
                        <a:pt x="4539" y="141571"/>
                        <a:pt x="0" y="137039"/>
                        <a:pt x="0" y="131440"/>
                      </a:cubicBezTo>
                      <a:lnTo>
                        <a:pt x="0" y="50567"/>
                      </a:lnTo>
                      <a:cubicBezTo>
                        <a:pt x="0" y="24528"/>
                        <a:pt x="24565" y="0"/>
                        <a:pt x="5064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</p:sp>
            <p:sp>
              <p:nvSpPr>
                <p:cNvPr id="61" name="server_182394"/>
                <p:cNvSpPr>
                  <a:spLocks noChangeAspect="1"/>
                </p:cNvSpPr>
                <p:nvPr/>
              </p:nvSpPr>
              <p:spPr bwMode="auto">
                <a:xfrm>
                  <a:off x="1131528" y="1308582"/>
                  <a:ext cx="306463" cy="306000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  <a:gd name="connsiteX68" fmla="*/ 325000 h 606722"/>
                    <a:gd name="connsiteY68" fmla="*/ 325000 h 606722"/>
                    <a:gd name="connsiteX69" fmla="*/ 325000 h 606722"/>
                    <a:gd name="connsiteY69" fmla="*/ 325000 h 606722"/>
                    <a:gd name="connsiteX70" fmla="*/ 325000 h 606722"/>
                    <a:gd name="connsiteY70" fmla="*/ 325000 h 606722"/>
                    <a:gd name="connsiteX71" fmla="*/ 325000 h 606722"/>
                    <a:gd name="connsiteY71" fmla="*/ 325000 h 606722"/>
                    <a:gd name="connsiteX72" fmla="*/ 325000 h 606722"/>
                    <a:gd name="connsiteY72" fmla="*/ 325000 h 606722"/>
                    <a:gd name="connsiteX73" fmla="*/ 325000 h 606722"/>
                    <a:gd name="connsiteY73" fmla="*/ 325000 h 606722"/>
                    <a:gd name="connsiteX74" fmla="*/ 325000 h 606722"/>
                    <a:gd name="connsiteY74" fmla="*/ 325000 h 606722"/>
                    <a:gd name="connsiteX75" fmla="*/ 325000 h 606722"/>
                    <a:gd name="connsiteY75" fmla="*/ 325000 h 606722"/>
                    <a:gd name="connsiteX76" fmla="*/ 325000 h 606722"/>
                    <a:gd name="connsiteY76" fmla="*/ 325000 h 606722"/>
                    <a:gd name="connsiteX77" fmla="*/ 325000 h 606722"/>
                    <a:gd name="connsiteY77" fmla="*/ 325000 h 606722"/>
                    <a:gd name="connsiteX78" fmla="*/ 325000 h 606722"/>
                    <a:gd name="connsiteY78" fmla="*/ 325000 h 606722"/>
                    <a:gd name="connsiteX79" fmla="*/ 325000 h 606722"/>
                    <a:gd name="connsiteY79" fmla="*/ 325000 h 606722"/>
                    <a:gd name="connsiteX80" fmla="*/ 325000 h 606722"/>
                    <a:gd name="connsiteY80" fmla="*/ 325000 h 606722"/>
                    <a:gd name="connsiteX81" fmla="*/ 325000 h 606722"/>
                    <a:gd name="connsiteY81" fmla="*/ 325000 h 606722"/>
                    <a:gd name="connsiteX82" fmla="*/ 325000 h 606722"/>
                    <a:gd name="connsiteY82" fmla="*/ 325000 h 606722"/>
                    <a:gd name="connsiteX83" fmla="*/ 325000 h 606722"/>
                    <a:gd name="connsiteY83" fmla="*/ 325000 h 606722"/>
                    <a:gd name="connsiteX84" fmla="*/ 325000 h 606722"/>
                    <a:gd name="connsiteY84" fmla="*/ 325000 h 606722"/>
                    <a:gd name="connsiteX85" fmla="*/ 325000 h 606722"/>
                    <a:gd name="connsiteY85" fmla="*/ 325000 h 606722"/>
                    <a:gd name="connsiteX86" fmla="*/ 325000 h 606722"/>
                    <a:gd name="connsiteY86" fmla="*/ 325000 h 606722"/>
                    <a:gd name="connsiteX87" fmla="*/ 325000 h 606722"/>
                    <a:gd name="connsiteY87" fmla="*/ 325000 h 606722"/>
                    <a:gd name="connsiteX88" fmla="*/ 325000 h 606722"/>
                    <a:gd name="connsiteY88" fmla="*/ 325000 h 606722"/>
                    <a:gd name="connsiteX89" fmla="*/ 325000 h 606722"/>
                    <a:gd name="connsiteY89" fmla="*/ 325000 h 606722"/>
                    <a:gd name="connsiteX90" fmla="*/ 325000 h 606722"/>
                    <a:gd name="connsiteY90" fmla="*/ 325000 h 606722"/>
                    <a:gd name="connsiteX91" fmla="*/ 325000 h 606722"/>
                    <a:gd name="connsiteY91" fmla="*/ 325000 h 606722"/>
                    <a:gd name="connsiteX92" fmla="*/ 325000 h 606722"/>
                    <a:gd name="connsiteY92" fmla="*/ 325000 h 606722"/>
                    <a:gd name="connsiteX93" fmla="*/ 325000 h 606722"/>
                    <a:gd name="connsiteY93" fmla="*/ 325000 h 606722"/>
                    <a:gd name="connsiteX94" fmla="*/ 325000 h 606722"/>
                    <a:gd name="connsiteY94" fmla="*/ 325000 h 606722"/>
                    <a:gd name="connsiteX95" fmla="*/ 325000 h 606722"/>
                    <a:gd name="connsiteY95" fmla="*/ 325000 h 606722"/>
                    <a:gd name="connsiteX96" fmla="*/ 325000 h 606722"/>
                    <a:gd name="connsiteY96" fmla="*/ 325000 h 606722"/>
                    <a:gd name="connsiteX97" fmla="*/ 325000 h 606722"/>
                    <a:gd name="connsiteY97" fmla="*/ 325000 h 606722"/>
                    <a:gd name="connsiteX98" fmla="*/ 325000 h 606722"/>
                    <a:gd name="connsiteY98" fmla="*/ 325000 h 606722"/>
                    <a:gd name="connsiteX99" fmla="*/ 325000 h 606722"/>
                    <a:gd name="connsiteY99" fmla="*/ 325000 h 606722"/>
                    <a:gd name="connsiteX100" fmla="*/ 325000 h 606722"/>
                    <a:gd name="connsiteY100" fmla="*/ 325000 h 606722"/>
                    <a:gd name="connsiteX101" fmla="*/ 325000 h 606722"/>
                    <a:gd name="connsiteY101" fmla="*/ 325000 h 606722"/>
                    <a:gd name="connsiteX102" fmla="*/ 325000 h 606722"/>
                    <a:gd name="connsiteY102" fmla="*/ 325000 h 606722"/>
                    <a:gd name="connsiteX103" fmla="*/ 325000 h 606722"/>
                    <a:gd name="connsiteY103" fmla="*/ 325000 h 606722"/>
                    <a:gd name="connsiteX104" fmla="*/ 325000 h 606722"/>
                    <a:gd name="connsiteY104" fmla="*/ 325000 h 606722"/>
                    <a:gd name="connsiteX105" fmla="*/ 325000 h 606722"/>
                    <a:gd name="connsiteY105" fmla="*/ 325000 h 606722"/>
                    <a:gd name="connsiteX106" fmla="*/ 325000 h 606722"/>
                    <a:gd name="connsiteY106" fmla="*/ 325000 h 606722"/>
                    <a:gd name="connsiteX107" fmla="*/ 325000 h 606722"/>
                    <a:gd name="connsiteY107" fmla="*/ 325000 h 606722"/>
                    <a:gd name="connsiteX108" fmla="*/ 325000 h 606722"/>
                    <a:gd name="connsiteY108" fmla="*/ 325000 h 606722"/>
                    <a:gd name="connsiteX109" fmla="*/ 325000 h 606722"/>
                    <a:gd name="connsiteY109" fmla="*/ 325000 h 606722"/>
                    <a:gd name="connsiteX110" fmla="*/ 325000 h 606722"/>
                    <a:gd name="connsiteY110" fmla="*/ 325000 h 606722"/>
                    <a:gd name="connsiteX111" fmla="*/ 325000 h 606722"/>
                    <a:gd name="connsiteY111" fmla="*/ 325000 h 606722"/>
                    <a:gd name="connsiteX112" fmla="*/ 325000 h 606722"/>
                    <a:gd name="connsiteY112" fmla="*/ 325000 h 606722"/>
                    <a:gd name="connsiteX113" fmla="*/ 325000 h 606722"/>
                    <a:gd name="connsiteY113" fmla="*/ 325000 h 606722"/>
                    <a:gd name="connsiteX114" fmla="*/ 325000 h 606722"/>
                    <a:gd name="connsiteY114" fmla="*/ 325000 h 606722"/>
                    <a:gd name="connsiteX115" fmla="*/ 325000 h 606722"/>
                    <a:gd name="connsiteY115" fmla="*/ 325000 h 606722"/>
                    <a:gd name="connsiteX116" fmla="*/ 325000 h 606722"/>
                    <a:gd name="connsiteY116" fmla="*/ 325000 h 606722"/>
                    <a:gd name="connsiteX117" fmla="*/ 325000 h 606722"/>
                    <a:gd name="connsiteY117" fmla="*/ 325000 h 606722"/>
                    <a:gd name="connsiteX118" fmla="*/ 325000 h 606722"/>
                    <a:gd name="connsiteY118" fmla="*/ 325000 h 606722"/>
                    <a:gd name="connsiteX119" fmla="*/ 325000 h 606722"/>
                    <a:gd name="connsiteY119" fmla="*/ 325000 h 606722"/>
                    <a:gd name="connsiteX120" fmla="*/ 325000 h 606722"/>
                    <a:gd name="connsiteY120" fmla="*/ 325000 h 606722"/>
                    <a:gd name="connsiteX121" fmla="*/ 325000 h 606722"/>
                    <a:gd name="connsiteY121" fmla="*/ 325000 h 606722"/>
                    <a:gd name="connsiteX122" fmla="*/ 325000 h 606722"/>
                    <a:gd name="connsiteY122" fmla="*/ 325000 h 606722"/>
                    <a:gd name="connsiteX123" fmla="*/ 325000 h 606722"/>
                    <a:gd name="connsiteY123" fmla="*/ 325000 h 606722"/>
                    <a:gd name="connsiteX124" fmla="*/ 325000 h 606722"/>
                    <a:gd name="connsiteY124" fmla="*/ 325000 h 606722"/>
                    <a:gd name="connsiteX125" fmla="*/ 325000 h 606722"/>
                    <a:gd name="connsiteY125" fmla="*/ 325000 h 606722"/>
                    <a:gd name="connsiteX126" fmla="*/ 325000 h 606722"/>
                    <a:gd name="connsiteY126" fmla="*/ 325000 h 606722"/>
                    <a:gd name="connsiteX127" fmla="*/ 325000 h 606722"/>
                    <a:gd name="connsiteY127" fmla="*/ 325000 h 606722"/>
                    <a:gd name="connsiteX128" fmla="*/ 325000 h 606722"/>
                    <a:gd name="connsiteY128" fmla="*/ 325000 h 606722"/>
                    <a:gd name="connsiteX129" fmla="*/ 325000 h 606722"/>
                    <a:gd name="connsiteY129" fmla="*/ 325000 h 606722"/>
                    <a:gd name="connsiteX130" fmla="*/ 325000 h 606722"/>
                    <a:gd name="connsiteY130" fmla="*/ 325000 h 606722"/>
                    <a:gd name="connsiteX131" fmla="*/ 325000 h 606722"/>
                    <a:gd name="connsiteY131" fmla="*/ 325000 h 606722"/>
                    <a:gd name="connsiteX132" fmla="*/ 325000 h 606722"/>
                    <a:gd name="connsiteY132" fmla="*/ 325000 h 606722"/>
                    <a:gd name="connsiteX133" fmla="*/ 325000 h 606722"/>
                    <a:gd name="connsiteY133" fmla="*/ 325000 h 606722"/>
                    <a:gd name="connsiteX134" fmla="*/ 325000 h 606722"/>
                    <a:gd name="connsiteY134" fmla="*/ 325000 h 606722"/>
                    <a:gd name="connsiteX135" fmla="*/ 325000 h 606722"/>
                    <a:gd name="connsiteY135" fmla="*/ 325000 h 606722"/>
                    <a:gd name="connsiteX136" fmla="*/ 325000 h 606722"/>
                    <a:gd name="connsiteY136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</a:cxnLst>
                  <a:rect l="l" t="t" r="r" b="b"/>
                  <a:pathLst>
                    <a:path w="607639" h="606722">
                      <a:moveTo>
                        <a:pt x="486081" y="475259"/>
                      </a:moveTo>
                      <a:cubicBezTo>
                        <a:pt x="497298" y="475259"/>
                        <a:pt x="506378" y="484329"/>
                        <a:pt x="506378" y="495443"/>
                      </a:cubicBezTo>
                      <a:cubicBezTo>
                        <a:pt x="506378" y="502912"/>
                        <a:pt x="502283" y="509403"/>
                        <a:pt x="496230" y="512871"/>
                      </a:cubicBezTo>
                      <a:lnTo>
                        <a:pt x="496230" y="535900"/>
                      </a:lnTo>
                      <a:cubicBezTo>
                        <a:pt x="496230" y="541502"/>
                        <a:pt x="491690" y="546036"/>
                        <a:pt x="486081" y="546036"/>
                      </a:cubicBezTo>
                      <a:cubicBezTo>
                        <a:pt x="480562" y="546036"/>
                        <a:pt x="476022" y="541502"/>
                        <a:pt x="476022" y="535900"/>
                      </a:cubicBezTo>
                      <a:lnTo>
                        <a:pt x="476022" y="512871"/>
                      </a:lnTo>
                      <a:cubicBezTo>
                        <a:pt x="469968" y="509403"/>
                        <a:pt x="465873" y="502912"/>
                        <a:pt x="465873" y="495443"/>
                      </a:cubicBezTo>
                      <a:cubicBezTo>
                        <a:pt x="465873" y="484329"/>
                        <a:pt x="474953" y="475259"/>
                        <a:pt x="486081" y="475259"/>
                      </a:cubicBezTo>
                      <a:close/>
                      <a:moveTo>
                        <a:pt x="415190" y="424698"/>
                      </a:moveTo>
                      <a:cubicBezTo>
                        <a:pt x="398455" y="424698"/>
                        <a:pt x="384836" y="438297"/>
                        <a:pt x="384836" y="455006"/>
                      </a:cubicBezTo>
                      <a:lnTo>
                        <a:pt x="384836" y="556150"/>
                      </a:lnTo>
                      <a:cubicBezTo>
                        <a:pt x="384836" y="572859"/>
                        <a:pt x="398455" y="586458"/>
                        <a:pt x="415190" y="586458"/>
                      </a:cubicBezTo>
                      <a:lnTo>
                        <a:pt x="556990" y="586458"/>
                      </a:lnTo>
                      <a:cubicBezTo>
                        <a:pt x="573725" y="586458"/>
                        <a:pt x="587344" y="572859"/>
                        <a:pt x="587344" y="556150"/>
                      </a:cubicBezTo>
                      <a:lnTo>
                        <a:pt x="587344" y="455006"/>
                      </a:lnTo>
                      <a:cubicBezTo>
                        <a:pt x="587344" y="438297"/>
                        <a:pt x="573725" y="424698"/>
                        <a:pt x="556990" y="424698"/>
                      </a:cubicBezTo>
                      <a:close/>
                      <a:moveTo>
                        <a:pt x="111409" y="404481"/>
                      </a:moveTo>
                      <a:lnTo>
                        <a:pt x="293724" y="404481"/>
                      </a:lnTo>
                      <a:cubicBezTo>
                        <a:pt x="299244" y="404481"/>
                        <a:pt x="303784" y="409011"/>
                        <a:pt x="303784" y="414607"/>
                      </a:cubicBezTo>
                      <a:cubicBezTo>
                        <a:pt x="303784" y="420203"/>
                        <a:pt x="299244" y="424733"/>
                        <a:pt x="293724" y="424733"/>
                      </a:cubicBezTo>
                      <a:lnTo>
                        <a:pt x="111409" y="424733"/>
                      </a:lnTo>
                      <a:cubicBezTo>
                        <a:pt x="105801" y="424733"/>
                        <a:pt x="101261" y="420203"/>
                        <a:pt x="101261" y="414607"/>
                      </a:cubicBezTo>
                      <a:cubicBezTo>
                        <a:pt x="101261" y="409011"/>
                        <a:pt x="105801" y="404481"/>
                        <a:pt x="111409" y="404481"/>
                      </a:cubicBezTo>
                      <a:close/>
                      <a:moveTo>
                        <a:pt x="10146" y="323613"/>
                      </a:moveTo>
                      <a:lnTo>
                        <a:pt x="394900" y="323613"/>
                      </a:lnTo>
                      <a:cubicBezTo>
                        <a:pt x="400507" y="323613"/>
                        <a:pt x="405046" y="328145"/>
                        <a:pt x="405046" y="333743"/>
                      </a:cubicBezTo>
                      <a:cubicBezTo>
                        <a:pt x="405046" y="339252"/>
                        <a:pt x="400507" y="343784"/>
                        <a:pt x="394900" y="343784"/>
                      </a:cubicBezTo>
                      <a:lnTo>
                        <a:pt x="20292" y="343784"/>
                      </a:lnTo>
                      <a:lnTo>
                        <a:pt x="20292" y="455039"/>
                      </a:lnTo>
                      <a:cubicBezTo>
                        <a:pt x="20292" y="469790"/>
                        <a:pt x="35867" y="485341"/>
                        <a:pt x="50642" y="485341"/>
                      </a:cubicBezTo>
                      <a:lnTo>
                        <a:pt x="334201" y="485341"/>
                      </a:lnTo>
                      <a:cubicBezTo>
                        <a:pt x="339719" y="485341"/>
                        <a:pt x="344258" y="489873"/>
                        <a:pt x="344258" y="495471"/>
                      </a:cubicBezTo>
                      <a:cubicBezTo>
                        <a:pt x="344258" y="501069"/>
                        <a:pt x="339719" y="505601"/>
                        <a:pt x="334201" y="505601"/>
                      </a:cubicBezTo>
                      <a:lnTo>
                        <a:pt x="50642" y="505601"/>
                      </a:lnTo>
                      <a:cubicBezTo>
                        <a:pt x="24564" y="505601"/>
                        <a:pt x="0" y="480987"/>
                        <a:pt x="0" y="455039"/>
                      </a:cubicBezTo>
                      <a:lnTo>
                        <a:pt x="0" y="333743"/>
                      </a:lnTo>
                      <a:cubicBezTo>
                        <a:pt x="0" y="328145"/>
                        <a:pt x="4539" y="323613"/>
                        <a:pt x="10146" y="323613"/>
                      </a:cubicBezTo>
                      <a:close/>
                      <a:moveTo>
                        <a:pt x="486046" y="323554"/>
                      </a:moveTo>
                      <a:cubicBezTo>
                        <a:pt x="463703" y="323554"/>
                        <a:pt x="445544" y="341685"/>
                        <a:pt x="445544" y="363994"/>
                      </a:cubicBezTo>
                      <a:lnTo>
                        <a:pt x="445544" y="404434"/>
                      </a:lnTo>
                      <a:lnTo>
                        <a:pt x="526547" y="404434"/>
                      </a:lnTo>
                      <a:lnTo>
                        <a:pt x="526547" y="363994"/>
                      </a:lnTo>
                      <a:cubicBezTo>
                        <a:pt x="526547" y="341685"/>
                        <a:pt x="508388" y="323554"/>
                        <a:pt x="486046" y="323554"/>
                      </a:cubicBezTo>
                      <a:close/>
                      <a:moveTo>
                        <a:pt x="486046" y="303290"/>
                      </a:moveTo>
                      <a:cubicBezTo>
                        <a:pt x="519604" y="303290"/>
                        <a:pt x="546842" y="330576"/>
                        <a:pt x="546842" y="363994"/>
                      </a:cubicBezTo>
                      <a:lnTo>
                        <a:pt x="546842" y="404434"/>
                      </a:lnTo>
                      <a:lnTo>
                        <a:pt x="556990" y="404434"/>
                      </a:lnTo>
                      <a:cubicBezTo>
                        <a:pt x="584852" y="404434"/>
                        <a:pt x="607639" y="427098"/>
                        <a:pt x="607639" y="455006"/>
                      </a:cubicBezTo>
                      <a:lnTo>
                        <a:pt x="607639" y="556150"/>
                      </a:lnTo>
                      <a:cubicBezTo>
                        <a:pt x="607639" y="583969"/>
                        <a:pt x="584852" y="606722"/>
                        <a:pt x="556990" y="606722"/>
                      </a:cubicBezTo>
                      <a:lnTo>
                        <a:pt x="415190" y="606722"/>
                      </a:lnTo>
                      <a:cubicBezTo>
                        <a:pt x="387239" y="606722"/>
                        <a:pt x="364541" y="583969"/>
                        <a:pt x="364541" y="556150"/>
                      </a:cubicBezTo>
                      <a:lnTo>
                        <a:pt x="364541" y="455006"/>
                      </a:lnTo>
                      <a:cubicBezTo>
                        <a:pt x="364541" y="427098"/>
                        <a:pt x="387239" y="404434"/>
                        <a:pt x="415190" y="404434"/>
                      </a:cubicBezTo>
                      <a:lnTo>
                        <a:pt x="425338" y="404434"/>
                      </a:lnTo>
                      <a:lnTo>
                        <a:pt x="425338" y="363994"/>
                      </a:lnTo>
                      <a:cubicBezTo>
                        <a:pt x="425338" y="330576"/>
                        <a:pt x="452576" y="303290"/>
                        <a:pt x="486046" y="303290"/>
                      </a:cubicBezTo>
                      <a:close/>
                      <a:moveTo>
                        <a:pt x="111409" y="242745"/>
                      </a:moveTo>
                      <a:lnTo>
                        <a:pt x="293724" y="242745"/>
                      </a:lnTo>
                      <a:cubicBezTo>
                        <a:pt x="299244" y="242745"/>
                        <a:pt x="303784" y="247263"/>
                        <a:pt x="303784" y="252756"/>
                      </a:cubicBezTo>
                      <a:cubicBezTo>
                        <a:pt x="303784" y="258337"/>
                        <a:pt x="299244" y="262856"/>
                        <a:pt x="293724" y="262856"/>
                      </a:cubicBezTo>
                      <a:lnTo>
                        <a:pt x="111409" y="262856"/>
                      </a:lnTo>
                      <a:cubicBezTo>
                        <a:pt x="105801" y="262856"/>
                        <a:pt x="101261" y="258337"/>
                        <a:pt x="101261" y="252756"/>
                      </a:cubicBezTo>
                      <a:cubicBezTo>
                        <a:pt x="101261" y="247263"/>
                        <a:pt x="105801" y="242745"/>
                        <a:pt x="111409" y="242745"/>
                      </a:cubicBezTo>
                      <a:close/>
                      <a:moveTo>
                        <a:pt x="476008" y="242704"/>
                      </a:moveTo>
                      <a:cubicBezTo>
                        <a:pt x="470398" y="242704"/>
                        <a:pt x="465855" y="247240"/>
                        <a:pt x="465855" y="252756"/>
                      </a:cubicBezTo>
                      <a:cubicBezTo>
                        <a:pt x="465855" y="258360"/>
                        <a:pt x="470398" y="262897"/>
                        <a:pt x="476008" y="262897"/>
                      </a:cubicBezTo>
                      <a:cubicBezTo>
                        <a:pt x="481530" y="262897"/>
                        <a:pt x="486072" y="258360"/>
                        <a:pt x="486072" y="252756"/>
                      </a:cubicBezTo>
                      <a:cubicBezTo>
                        <a:pt x="486072" y="247240"/>
                        <a:pt x="481530" y="242704"/>
                        <a:pt x="476008" y="242704"/>
                      </a:cubicBezTo>
                      <a:close/>
                      <a:moveTo>
                        <a:pt x="394910" y="242704"/>
                      </a:moveTo>
                      <a:cubicBezTo>
                        <a:pt x="389388" y="242704"/>
                        <a:pt x="384846" y="247240"/>
                        <a:pt x="384846" y="252756"/>
                      </a:cubicBezTo>
                      <a:cubicBezTo>
                        <a:pt x="384846" y="258360"/>
                        <a:pt x="389388" y="262897"/>
                        <a:pt x="394910" y="262897"/>
                      </a:cubicBezTo>
                      <a:cubicBezTo>
                        <a:pt x="400520" y="262897"/>
                        <a:pt x="405062" y="258360"/>
                        <a:pt x="405062" y="252756"/>
                      </a:cubicBezTo>
                      <a:cubicBezTo>
                        <a:pt x="405062" y="247240"/>
                        <a:pt x="400520" y="242704"/>
                        <a:pt x="394910" y="242704"/>
                      </a:cubicBezTo>
                      <a:close/>
                      <a:moveTo>
                        <a:pt x="476008" y="222422"/>
                      </a:moveTo>
                      <a:cubicBezTo>
                        <a:pt x="492751" y="222422"/>
                        <a:pt x="506377" y="236032"/>
                        <a:pt x="506377" y="252756"/>
                      </a:cubicBezTo>
                      <a:cubicBezTo>
                        <a:pt x="506377" y="269568"/>
                        <a:pt x="492751" y="283179"/>
                        <a:pt x="476008" y="283179"/>
                      </a:cubicBezTo>
                      <a:cubicBezTo>
                        <a:pt x="459176" y="283179"/>
                        <a:pt x="445550" y="269568"/>
                        <a:pt x="445550" y="252756"/>
                      </a:cubicBezTo>
                      <a:cubicBezTo>
                        <a:pt x="445550" y="236032"/>
                        <a:pt x="459176" y="222422"/>
                        <a:pt x="476008" y="222422"/>
                      </a:cubicBezTo>
                      <a:close/>
                      <a:moveTo>
                        <a:pt x="394910" y="222422"/>
                      </a:moveTo>
                      <a:cubicBezTo>
                        <a:pt x="411742" y="222422"/>
                        <a:pt x="425368" y="236032"/>
                        <a:pt x="425368" y="252756"/>
                      </a:cubicBezTo>
                      <a:cubicBezTo>
                        <a:pt x="425368" y="269568"/>
                        <a:pt x="411742" y="283179"/>
                        <a:pt x="394910" y="283179"/>
                      </a:cubicBezTo>
                      <a:cubicBezTo>
                        <a:pt x="378167" y="283179"/>
                        <a:pt x="364541" y="269568"/>
                        <a:pt x="364541" y="252756"/>
                      </a:cubicBezTo>
                      <a:cubicBezTo>
                        <a:pt x="364541" y="236032"/>
                        <a:pt x="378167" y="222422"/>
                        <a:pt x="394910" y="222422"/>
                      </a:cubicBezTo>
                      <a:close/>
                      <a:moveTo>
                        <a:pt x="10146" y="161736"/>
                      </a:moveTo>
                      <a:lnTo>
                        <a:pt x="556988" y="161736"/>
                      </a:lnTo>
                      <a:cubicBezTo>
                        <a:pt x="562595" y="161736"/>
                        <a:pt x="567134" y="166268"/>
                        <a:pt x="567134" y="171866"/>
                      </a:cubicBezTo>
                      <a:cubicBezTo>
                        <a:pt x="567134" y="177464"/>
                        <a:pt x="562595" y="181996"/>
                        <a:pt x="556988" y="181996"/>
                      </a:cubicBezTo>
                      <a:lnTo>
                        <a:pt x="20293" y="181996"/>
                      </a:lnTo>
                      <a:lnTo>
                        <a:pt x="20293" y="293249"/>
                      </a:lnTo>
                      <a:cubicBezTo>
                        <a:pt x="20293" y="298758"/>
                        <a:pt x="15753" y="303290"/>
                        <a:pt x="10146" y="303290"/>
                      </a:cubicBezTo>
                      <a:cubicBezTo>
                        <a:pt x="4539" y="303290"/>
                        <a:pt x="0" y="298758"/>
                        <a:pt x="0" y="293249"/>
                      </a:cubicBezTo>
                      <a:lnTo>
                        <a:pt x="0" y="171866"/>
                      </a:lnTo>
                      <a:cubicBezTo>
                        <a:pt x="0" y="166268"/>
                        <a:pt x="4539" y="161736"/>
                        <a:pt x="10146" y="161736"/>
                      </a:cubicBezTo>
                      <a:close/>
                      <a:moveTo>
                        <a:pt x="111409" y="80868"/>
                      </a:moveTo>
                      <a:lnTo>
                        <a:pt x="293724" y="80868"/>
                      </a:lnTo>
                      <a:cubicBezTo>
                        <a:pt x="299244" y="80868"/>
                        <a:pt x="303784" y="85398"/>
                        <a:pt x="303784" y="90994"/>
                      </a:cubicBezTo>
                      <a:cubicBezTo>
                        <a:pt x="303784" y="96590"/>
                        <a:pt x="299244" y="101120"/>
                        <a:pt x="293724" y="101120"/>
                      </a:cubicBezTo>
                      <a:lnTo>
                        <a:pt x="111409" y="101120"/>
                      </a:lnTo>
                      <a:cubicBezTo>
                        <a:pt x="105801" y="101120"/>
                        <a:pt x="101261" y="96590"/>
                        <a:pt x="101261" y="90994"/>
                      </a:cubicBezTo>
                      <a:cubicBezTo>
                        <a:pt x="101261" y="85398"/>
                        <a:pt x="105801" y="80868"/>
                        <a:pt x="111409" y="80868"/>
                      </a:cubicBezTo>
                      <a:close/>
                      <a:moveTo>
                        <a:pt x="476008" y="80861"/>
                      </a:moveTo>
                      <a:cubicBezTo>
                        <a:pt x="470398" y="80861"/>
                        <a:pt x="465855" y="85394"/>
                        <a:pt x="465855" y="90994"/>
                      </a:cubicBezTo>
                      <a:cubicBezTo>
                        <a:pt x="465855" y="96593"/>
                        <a:pt x="470398" y="101126"/>
                        <a:pt x="476008" y="101126"/>
                      </a:cubicBezTo>
                      <a:cubicBezTo>
                        <a:pt x="481530" y="101126"/>
                        <a:pt x="486072" y="96593"/>
                        <a:pt x="486072" y="90994"/>
                      </a:cubicBezTo>
                      <a:cubicBezTo>
                        <a:pt x="486072" y="85394"/>
                        <a:pt x="481530" y="80861"/>
                        <a:pt x="476008" y="80861"/>
                      </a:cubicBezTo>
                      <a:close/>
                      <a:moveTo>
                        <a:pt x="394910" y="80861"/>
                      </a:moveTo>
                      <a:cubicBezTo>
                        <a:pt x="389388" y="80861"/>
                        <a:pt x="384846" y="85394"/>
                        <a:pt x="384846" y="90994"/>
                      </a:cubicBezTo>
                      <a:cubicBezTo>
                        <a:pt x="384846" y="96593"/>
                        <a:pt x="389388" y="101126"/>
                        <a:pt x="394910" y="101126"/>
                      </a:cubicBezTo>
                      <a:cubicBezTo>
                        <a:pt x="400520" y="101126"/>
                        <a:pt x="405062" y="96593"/>
                        <a:pt x="405062" y="90994"/>
                      </a:cubicBezTo>
                      <a:cubicBezTo>
                        <a:pt x="405062" y="85394"/>
                        <a:pt x="400520" y="80861"/>
                        <a:pt x="394910" y="80861"/>
                      </a:cubicBezTo>
                      <a:close/>
                      <a:moveTo>
                        <a:pt x="476008" y="60686"/>
                      </a:moveTo>
                      <a:cubicBezTo>
                        <a:pt x="492751" y="60686"/>
                        <a:pt x="506377" y="74284"/>
                        <a:pt x="506377" y="90994"/>
                      </a:cubicBezTo>
                      <a:cubicBezTo>
                        <a:pt x="506377" y="107703"/>
                        <a:pt x="492751" y="121302"/>
                        <a:pt x="476008" y="121302"/>
                      </a:cubicBezTo>
                      <a:cubicBezTo>
                        <a:pt x="459176" y="121302"/>
                        <a:pt x="445550" y="107703"/>
                        <a:pt x="445550" y="90994"/>
                      </a:cubicBezTo>
                      <a:cubicBezTo>
                        <a:pt x="445550" y="74284"/>
                        <a:pt x="459176" y="60686"/>
                        <a:pt x="476008" y="60686"/>
                      </a:cubicBezTo>
                      <a:close/>
                      <a:moveTo>
                        <a:pt x="394910" y="60686"/>
                      </a:moveTo>
                      <a:cubicBezTo>
                        <a:pt x="411742" y="60686"/>
                        <a:pt x="425368" y="74284"/>
                        <a:pt x="425368" y="90994"/>
                      </a:cubicBezTo>
                      <a:cubicBezTo>
                        <a:pt x="425368" y="107703"/>
                        <a:pt x="411742" y="121302"/>
                        <a:pt x="394910" y="121302"/>
                      </a:cubicBezTo>
                      <a:cubicBezTo>
                        <a:pt x="378167" y="121302"/>
                        <a:pt x="364541" y="107703"/>
                        <a:pt x="364541" y="90994"/>
                      </a:cubicBezTo>
                      <a:cubicBezTo>
                        <a:pt x="364541" y="74284"/>
                        <a:pt x="378167" y="60686"/>
                        <a:pt x="394910" y="60686"/>
                      </a:cubicBezTo>
                      <a:close/>
                      <a:moveTo>
                        <a:pt x="50644" y="0"/>
                      </a:moveTo>
                      <a:lnTo>
                        <a:pt x="556995" y="0"/>
                      </a:lnTo>
                      <a:cubicBezTo>
                        <a:pt x="582985" y="0"/>
                        <a:pt x="607639" y="24528"/>
                        <a:pt x="607639" y="50567"/>
                      </a:cubicBezTo>
                      <a:lnTo>
                        <a:pt x="607639" y="384277"/>
                      </a:lnTo>
                      <a:cubicBezTo>
                        <a:pt x="607639" y="389787"/>
                        <a:pt x="603100" y="394320"/>
                        <a:pt x="597493" y="394320"/>
                      </a:cubicBezTo>
                      <a:cubicBezTo>
                        <a:pt x="591885" y="394320"/>
                        <a:pt x="587346" y="389787"/>
                        <a:pt x="587346" y="384277"/>
                      </a:cubicBezTo>
                      <a:lnTo>
                        <a:pt x="587346" y="50567"/>
                      </a:lnTo>
                      <a:cubicBezTo>
                        <a:pt x="587346" y="35815"/>
                        <a:pt x="571770" y="20262"/>
                        <a:pt x="556995" y="20262"/>
                      </a:cubicBezTo>
                      <a:lnTo>
                        <a:pt x="50644" y="20262"/>
                      </a:lnTo>
                      <a:cubicBezTo>
                        <a:pt x="35869" y="20262"/>
                        <a:pt x="20293" y="35815"/>
                        <a:pt x="20293" y="50567"/>
                      </a:cubicBezTo>
                      <a:lnTo>
                        <a:pt x="20293" y="131440"/>
                      </a:lnTo>
                      <a:cubicBezTo>
                        <a:pt x="20293" y="137039"/>
                        <a:pt x="15754" y="141571"/>
                        <a:pt x="10146" y="141571"/>
                      </a:cubicBezTo>
                      <a:cubicBezTo>
                        <a:pt x="4539" y="141571"/>
                        <a:pt x="0" y="137039"/>
                        <a:pt x="0" y="131440"/>
                      </a:cubicBezTo>
                      <a:lnTo>
                        <a:pt x="0" y="50567"/>
                      </a:lnTo>
                      <a:cubicBezTo>
                        <a:pt x="0" y="24528"/>
                        <a:pt x="24565" y="0"/>
                        <a:pt x="5064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</p:sp>
            <p:sp>
              <p:nvSpPr>
                <p:cNvPr id="62" name="server_182394"/>
                <p:cNvSpPr>
                  <a:spLocks noChangeAspect="1"/>
                </p:cNvSpPr>
                <p:nvPr/>
              </p:nvSpPr>
              <p:spPr bwMode="auto">
                <a:xfrm>
                  <a:off x="1596924" y="1308582"/>
                  <a:ext cx="306463" cy="306000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  <a:gd name="connsiteX68" fmla="*/ 325000 h 606722"/>
                    <a:gd name="connsiteY68" fmla="*/ 325000 h 606722"/>
                    <a:gd name="connsiteX69" fmla="*/ 325000 h 606722"/>
                    <a:gd name="connsiteY69" fmla="*/ 325000 h 606722"/>
                    <a:gd name="connsiteX70" fmla="*/ 325000 h 606722"/>
                    <a:gd name="connsiteY70" fmla="*/ 325000 h 606722"/>
                    <a:gd name="connsiteX71" fmla="*/ 325000 h 606722"/>
                    <a:gd name="connsiteY71" fmla="*/ 325000 h 606722"/>
                    <a:gd name="connsiteX72" fmla="*/ 325000 h 606722"/>
                    <a:gd name="connsiteY72" fmla="*/ 325000 h 606722"/>
                    <a:gd name="connsiteX73" fmla="*/ 325000 h 606722"/>
                    <a:gd name="connsiteY73" fmla="*/ 325000 h 606722"/>
                    <a:gd name="connsiteX74" fmla="*/ 325000 h 606722"/>
                    <a:gd name="connsiteY74" fmla="*/ 325000 h 606722"/>
                    <a:gd name="connsiteX75" fmla="*/ 325000 h 606722"/>
                    <a:gd name="connsiteY75" fmla="*/ 325000 h 606722"/>
                    <a:gd name="connsiteX76" fmla="*/ 325000 h 606722"/>
                    <a:gd name="connsiteY76" fmla="*/ 325000 h 606722"/>
                    <a:gd name="connsiteX77" fmla="*/ 325000 h 606722"/>
                    <a:gd name="connsiteY77" fmla="*/ 325000 h 606722"/>
                    <a:gd name="connsiteX78" fmla="*/ 325000 h 606722"/>
                    <a:gd name="connsiteY78" fmla="*/ 325000 h 606722"/>
                    <a:gd name="connsiteX79" fmla="*/ 325000 h 606722"/>
                    <a:gd name="connsiteY79" fmla="*/ 325000 h 606722"/>
                    <a:gd name="connsiteX80" fmla="*/ 325000 h 606722"/>
                    <a:gd name="connsiteY80" fmla="*/ 325000 h 606722"/>
                    <a:gd name="connsiteX81" fmla="*/ 325000 h 606722"/>
                    <a:gd name="connsiteY81" fmla="*/ 325000 h 606722"/>
                    <a:gd name="connsiteX82" fmla="*/ 325000 h 606722"/>
                    <a:gd name="connsiteY82" fmla="*/ 325000 h 606722"/>
                    <a:gd name="connsiteX83" fmla="*/ 325000 h 606722"/>
                    <a:gd name="connsiteY83" fmla="*/ 325000 h 606722"/>
                    <a:gd name="connsiteX84" fmla="*/ 325000 h 606722"/>
                    <a:gd name="connsiteY84" fmla="*/ 325000 h 606722"/>
                    <a:gd name="connsiteX85" fmla="*/ 325000 h 606722"/>
                    <a:gd name="connsiteY85" fmla="*/ 325000 h 606722"/>
                    <a:gd name="connsiteX86" fmla="*/ 325000 h 606722"/>
                    <a:gd name="connsiteY86" fmla="*/ 325000 h 606722"/>
                    <a:gd name="connsiteX87" fmla="*/ 325000 h 606722"/>
                    <a:gd name="connsiteY87" fmla="*/ 325000 h 606722"/>
                    <a:gd name="connsiteX88" fmla="*/ 325000 h 606722"/>
                    <a:gd name="connsiteY88" fmla="*/ 325000 h 606722"/>
                    <a:gd name="connsiteX89" fmla="*/ 325000 h 606722"/>
                    <a:gd name="connsiteY89" fmla="*/ 325000 h 606722"/>
                    <a:gd name="connsiteX90" fmla="*/ 325000 h 606722"/>
                    <a:gd name="connsiteY90" fmla="*/ 325000 h 606722"/>
                    <a:gd name="connsiteX91" fmla="*/ 325000 h 606722"/>
                    <a:gd name="connsiteY91" fmla="*/ 325000 h 606722"/>
                    <a:gd name="connsiteX92" fmla="*/ 325000 h 606722"/>
                    <a:gd name="connsiteY92" fmla="*/ 325000 h 606722"/>
                    <a:gd name="connsiteX93" fmla="*/ 325000 h 606722"/>
                    <a:gd name="connsiteY93" fmla="*/ 325000 h 606722"/>
                    <a:gd name="connsiteX94" fmla="*/ 325000 h 606722"/>
                    <a:gd name="connsiteY94" fmla="*/ 325000 h 606722"/>
                    <a:gd name="connsiteX95" fmla="*/ 325000 h 606722"/>
                    <a:gd name="connsiteY95" fmla="*/ 325000 h 606722"/>
                    <a:gd name="connsiteX96" fmla="*/ 325000 h 606722"/>
                    <a:gd name="connsiteY96" fmla="*/ 325000 h 606722"/>
                    <a:gd name="connsiteX97" fmla="*/ 325000 h 606722"/>
                    <a:gd name="connsiteY97" fmla="*/ 325000 h 606722"/>
                    <a:gd name="connsiteX98" fmla="*/ 325000 h 606722"/>
                    <a:gd name="connsiteY98" fmla="*/ 325000 h 606722"/>
                    <a:gd name="connsiteX99" fmla="*/ 325000 h 606722"/>
                    <a:gd name="connsiteY99" fmla="*/ 325000 h 606722"/>
                    <a:gd name="connsiteX100" fmla="*/ 325000 h 606722"/>
                    <a:gd name="connsiteY100" fmla="*/ 325000 h 606722"/>
                    <a:gd name="connsiteX101" fmla="*/ 325000 h 606722"/>
                    <a:gd name="connsiteY101" fmla="*/ 325000 h 606722"/>
                    <a:gd name="connsiteX102" fmla="*/ 325000 h 606722"/>
                    <a:gd name="connsiteY102" fmla="*/ 325000 h 606722"/>
                    <a:gd name="connsiteX103" fmla="*/ 325000 h 606722"/>
                    <a:gd name="connsiteY103" fmla="*/ 325000 h 606722"/>
                    <a:gd name="connsiteX104" fmla="*/ 325000 h 606722"/>
                    <a:gd name="connsiteY104" fmla="*/ 325000 h 606722"/>
                    <a:gd name="connsiteX105" fmla="*/ 325000 h 606722"/>
                    <a:gd name="connsiteY105" fmla="*/ 325000 h 606722"/>
                    <a:gd name="connsiteX106" fmla="*/ 325000 h 606722"/>
                    <a:gd name="connsiteY106" fmla="*/ 325000 h 606722"/>
                    <a:gd name="connsiteX107" fmla="*/ 325000 h 606722"/>
                    <a:gd name="connsiteY107" fmla="*/ 325000 h 606722"/>
                    <a:gd name="connsiteX108" fmla="*/ 325000 h 606722"/>
                    <a:gd name="connsiteY108" fmla="*/ 325000 h 606722"/>
                    <a:gd name="connsiteX109" fmla="*/ 325000 h 606722"/>
                    <a:gd name="connsiteY109" fmla="*/ 325000 h 606722"/>
                    <a:gd name="connsiteX110" fmla="*/ 325000 h 606722"/>
                    <a:gd name="connsiteY110" fmla="*/ 325000 h 606722"/>
                    <a:gd name="connsiteX111" fmla="*/ 325000 h 606722"/>
                    <a:gd name="connsiteY111" fmla="*/ 325000 h 606722"/>
                    <a:gd name="connsiteX112" fmla="*/ 325000 h 606722"/>
                    <a:gd name="connsiteY112" fmla="*/ 325000 h 606722"/>
                    <a:gd name="connsiteX113" fmla="*/ 325000 h 606722"/>
                    <a:gd name="connsiteY113" fmla="*/ 325000 h 606722"/>
                    <a:gd name="connsiteX114" fmla="*/ 325000 h 606722"/>
                    <a:gd name="connsiteY114" fmla="*/ 325000 h 606722"/>
                    <a:gd name="connsiteX115" fmla="*/ 325000 h 606722"/>
                    <a:gd name="connsiteY115" fmla="*/ 325000 h 606722"/>
                    <a:gd name="connsiteX116" fmla="*/ 325000 h 606722"/>
                    <a:gd name="connsiteY116" fmla="*/ 325000 h 606722"/>
                    <a:gd name="connsiteX117" fmla="*/ 325000 h 606722"/>
                    <a:gd name="connsiteY117" fmla="*/ 325000 h 606722"/>
                    <a:gd name="connsiteX118" fmla="*/ 325000 h 606722"/>
                    <a:gd name="connsiteY118" fmla="*/ 325000 h 606722"/>
                    <a:gd name="connsiteX119" fmla="*/ 325000 h 606722"/>
                    <a:gd name="connsiteY119" fmla="*/ 325000 h 606722"/>
                    <a:gd name="connsiteX120" fmla="*/ 325000 h 606722"/>
                    <a:gd name="connsiteY120" fmla="*/ 325000 h 606722"/>
                    <a:gd name="connsiteX121" fmla="*/ 325000 h 606722"/>
                    <a:gd name="connsiteY121" fmla="*/ 325000 h 606722"/>
                    <a:gd name="connsiteX122" fmla="*/ 325000 h 606722"/>
                    <a:gd name="connsiteY122" fmla="*/ 325000 h 606722"/>
                    <a:gd name="connsiteX123" fmla="*/ 325000 h 606722"/>
                    <a:gd name="connsiteY123" fmla="*/ 325000 h 606722"/>
                    <a:gd name="connsiteX124" fmla="*/ 325000 h 606722"/>
                    <a:gd name="connsiteY124" fmla="*/ 325000 h 606722"/>
                    <a:gd name="connsiteX125" fmla="*/ 325000 h 606722"/>
                    <a:gd name="connsiteY125" fmla="*/ 325000 h 606722"/>
                    <a:gd name="connsiteX126" fmla="*/ 325000 h 606722"/>
                    <a:gd name="connsiteY126" fmla="*/ 325000 h 606722"/>
                    <a:gd name="connsiteX127" fmla="*/ 325000 h 606722"/>
                    <a:gd name="connsiteY127" fmla="*/ 325000 h 606722"/>
                    <a:gd name="connsiteX128" fmla="*/ 325000 h 606722"/>
                    <a:gd name="connsiteY128" fmla="*/ 325000 h 606722"/>
                    <a:gd name="connsiteX129" fmla="*/ 325000 h 606722"/>
                    <a:gd name="connsiteY129" fmla="*/ 325000 h 606722"/>
                    <a:gd name="connsiteX130" fmla="*/ 325000 h 606722"/>
                    <a:gd name="connsiteY130" fmla="*/ 325000 h 606722"/>
                    <a:gd name="connsiteX131" fmla="*/ 325000 h 606722"/>
                    <a:gd name="connsiteY131" fmla="*/ 325000 h 606722"/>
                    <a:gd name="connsiteX132" fmla="*/ 325000 h 606722"/>
                    <a:gd name="connsiteY132" fmla="*/ 325000 h 606722"/>
                    <a:gd name="connsiteX133" fmla="*/ 325000 h 606722"/>
                    <a:gd name="connsiteY133" fmla="*/ 325000 h 606722"/>
                    <a:gd name="connsiteX134" fmla="*/ 325000 h 606722"/>
                    <a:gd name="connsiteY134" fmla="*/ 325000 h 606722"/>
                    <a:gd name="connsiteX135" fmla="*/ 325000 h 606722"/>
                    <a:gd name="connsiteY135" fmla="*/ 325000 h 606722"/>
                    <a:gd name="connsiteX136" fmla="*/ 325000 h 606722"/>
                    <a:gd name="connsiteY136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</a:cxnLst>
                  <a:rect l="l" t="t" r="r" b="b"/>
                  <a:pathLst>
                    <a:path w="607639" h="606722">
                      <a:moveTo>
                        <a:pt x="486081" y="475259"/>
                      </a:moveTo>
                      <a:cubicBezTo>
                        <a:pt x="497298" y="475259"/>
                        <a:pt x="506378" y="484329"/>
                        <a:pt x="506378" y="495443"/>
                      </a:cubicBezTo>
                      <a:cubicBezTo>
                        <a:pt x="506378" y="502912"/>
                        <a:pt x="502283" y="509403"/>
                        <a:pt x="496230" y="512871"/>
                      </a:cubicBezTo>
                      <a:lnTo>
                        <a:pt x="496230" y="535900"/>
                      </a:lnTo>
                      <a:cubicBezTo>
                        <a:pt x="496230" y="541502"/>
                        <a:pt x="491690" y="546036"/>
                        <a:pt x="486081" y="546036"/>
                      </a:cubicBezTo>
                      <a:cubicBezTo>
                        <a:pt x="480562" y="546036"/>
                        <a:pt x="476022" y="541502"/>
                        <a:pt x="476022" y="535900"/>
                      </a:cubicBezTo>
                      <a:lnTo>
                        <a:pt x="476022" y="512871"/>
                      </a:lnTo>
                      <a:cubicBezTo>
                        <a:pt x="469968" y="509403"/>
                        <a:pt x="465873" y="502912"/>
                        <a:pt x="465873" y="495443"/>
                      </a:cubicBezTo>
                      <a:cubicBezTo>
                        <a:pt x="465873" y="484329"/>
                        <a:pt x="474953" y="475259"/>
                        <a:pt x="486081" y="475259"/>
                      </a:cubicBezTo>
                      <a:close/>
                      <a:moveTo>
                        <a:pt x="415190" y="424698"/>
                      </a:moveTo>
                      <a:cubicBezTo>
                        <a:pt x="398455" y="424698"/>
                        <a:pt x="384836" y="438297"/>
                        <a:pt x="384836" y="455006"/>
                      </a:cubicBezTo>
                      <a:lnTo>
                        <a:pt x="384836" y="556150"/>
                      </a:lnTo>
                      <a:cubicBezTo>
                        <a:pt x="384836" y="572859"/>
                        <a:pt x="398455" y="586458"/>
                        <a:pt x="415190" y="586458"/>
                      </a:cubicBezTo>
                      <a:lnTo>
                        <a:pt x="556990" y="586458"/>
                      </a:lnTo>
                      <a:cubicBezTo>
                        <a:pt x="573725" y="586458"/>
                        <a:pt x="587344" y="572859"/>
                        <a:pt x="587344" y="556150"/>
                      </a:cubicBezTo>
                      <a:lnTo>
                        <a:pt x="587344" y="455006"/>
                      </a:lnTo>
                      <a:cubicBezTo>
                        <a:pt x="587344" y="438297"/>
                        <a:pt x="573725" y="424698"/>
                        <a:pt x="556990" y="424698"/>
                      </a:cubicBezTo>
                      <a:close/>
                      <a:moveTo>
                        <a:pt x="111409" y="404481"/>
                      </a:moveTo>
                      <a:lnTo>
                        <a:pt x="293724" y="404481"/>
                      </a:lnTo>
                      <a:cubicBezTo>
                        <a:pt x="299244" y="404481"/>
                        <a:pt x="303784" y="409011"/>
                        <a:pt x="303784" y="414607"/>
                      </a:cubicBezTo>
                      <a:cubicBezTo>
                        <a:pt x="303784" y="420203"/>
                        <a:pt x="299244" y="424733"/>
                        <a:pt x="293724" y="424733"/>
                      </a:cubicBezTo>
                      <a:lnTo>
                        <a:pt x="111409" y="424733"/>
                      </a:lnTo>
                      <a:cubicBezTo>
                        <a:pt x="105801" y="424733"/>
                        <a:pt x="101261" y="420203"/>
                        <a:pt x="101261" y="414607"/>
                      </a:cubicBezTo>
                      <a:cubicBezTo>
                        <a:pt x="101261" y="409011"/>
                        <a:pt x="105801" y="404481"/>
                        <a:pt x="111409" y="404481"/>
                      </a:cubicBezTo>
                      <a:close/>
                      <a:moveTo>
                        <a:pt x="10146" y="323613"/>
                      </a:moveTo>
                      <a:lnTo>
                        <a:pt x="394900" y="323613"/>
                      </a:lnTo>
                      <a:cubicBezTo>
                        <a:pt x="400507" y="323613"/>
                        <a:pt x="405046" y="328145"/>
                        <a:pt x="405046" y="333743"/>
                      </a:cubicBezTo>
                      <a:cubicBezTo>
                        <a:pt x="405046" y="339252"/>
                        <a:pt x="400507" y="343784"/>
                        <a:pt x="394900" y="343784"/>
                      </a:cubicBezTo>
                      <a:lnTo>
                        <a:pt x="20292" y="343784"/>
                      </a:lnTo>
                      <a:lnTo>
                        <a:pt x="20292" y="455039"/>
                      </a:lnTo>
                      <a:cubicBezTo>
                        <a:pt x="20292" y="469790"/>
                        <a:pt x="35867" y="485341"/>
                        <a:pt x="50642" y="485341"/>
                      </a:cubicBezTo>
                      <a:lnTo>
                        <a:pt x="334201" y="485341"/>
                      </a:lnTo>
                      <a:cubicBezTo>
                        <a:pt x="339719" y="485341"/>
                        <a:pt x="344258" y="489873"/>
                        <a:pt x="344258" y="495471"/>
                      </a:cubicBezTo>
                      <a:cubicBezTo>
                        <a:pt x="344258" y="501069"/>
                        <a:pt x="339719" y="505601"/>
                        <a:pt x="334201" y="505601"/>
                      </a:cubicBezTo>
                      <a:lnTo>
                        <a:pt x="50642" y="505601"/>
                      </a:lnTo>
                      <a:cubicBezTo>
                        <a:pt x="24564" y="505601"/>
                        <a:pt x="0" y="480987"/>
                        <a:pt x="0" y="455039"/>
                      </a:cubicBezTo>
                      <a:lnTo>
                        <a:pt x="0" y="333743"/>
                      </a:lnTo>
                      <a:cubicBezTo>
                        <a:pt x="0" y="328145"/>
                        <a:pt x="4539" y="323613"/>
                        <a:pt x="10146" y="323613"/>
                      </a:cubicBezTo>
                      <a:close/>
                      <a:moveTo>
                        <a:pt x="486046" y="323554"/>
                      </a:moveTo>
                      <a:cubicBezTo>
                        <a:pt x="463703" y="323554"/>
                        <a:pt x="445544" y="341685"/>
                        <a:pt x="445544" y="363994"/>
                      </a:cubicBezTo>
                      <a:lnTo>
                        <a:pt x="445544" y="404434"/>
                      </a:lnTo>
                      <a:lnTo>
                        <a:pt x="526547" y="404434"/>
                      </a:lnTo>
                      <a:lnTo>
                        <a:pt x="526547" y="363994"/>
                      </a:lnTo>
                      <a:cubicBezTo>
                        <a:pt x="526547" y="341685"/>
                        <a:pt x="508388" y="323554"/>
                        <a:pt x="486046" y="323554"/>
                      </a:cubicBezTo>
                      <a:close/>
                      <a:moveTo>
                        <a:pt x="486046" y="303290"/>
                      </a:moveTo>
                      <a:cubicBezTo>
                        <a:pt x="519604" y="303290"/>
                        <a:pt x="546842" y="330576"/>
                        <a:pt x="546842" y="363994"/>
                      </a:cubicBezTo>
                      <a:lnTo>
                        <a:pt x="546842" y="404434"/>
                      </a:lnTo>
                      <a:lnTo>
                        <a:pt x="556990" y="404434"/>
                      </a:lnTo>
                      <a:cubicBezTo>
                        <a:pt x="584852" y="404434"/>
                        <a:pt x="607639" y="427098"/>
                        <a:pt x="607639" y="455006"/>
                      </a:cubicBezTo>
                      <a:lnTo>
                        <a:pt x="607639" y="556150"/>
                      </a:lnTo>
                      <a:cubicBezTo>
                        <a:pt x="607639" y="583969"/>
                        <a:pt x="584852" y="606722"/>
                        <a:pt x="556990" y="606722"/>
                      </a:cubicBezTo>
                      <a:lnTo>
                        <a:pt x="415190" y="606722"/>
                      </a:lnTo>
                      <a:cubicBezTo>
                        <a:pt x="387239" y="606722"/>
                        <a:pt x="364541" y="583969"/>
                        <a:pt x="364541" y="556150"/>
                      </a:cubicBezTo>
                      <a:lnTo>
                        <a:pt x="364541" y="455006"/>
                      </a:lnTo>
                      <a:cubicBezTo>
                        <a:pt x="364541" y="427098"/>
                        <a:pt x="387239" y="404434"/>
                        <a:pt x="415190" y="404434"/>
                      </a:cubicBezTo>
                      <a:lnTo>
                        <a:pt x="425338" y="404434"/>
                      </a:lnTo>
                      <a:lnTo>
                        <a:pt x="425338" y="363994"/>
                      </a:lnTo>
                      <a:cubicBezTo>
                        <a:pt x="425338" y="330576"/>
                        <a:pt x="452576" y="303290"/>
                        <a:pt x="486046" y="303290"/>
                      </a:cubicBezTo>
                      <a:close/>
                      <a:moveTo>
                        <a:pt x="111409" y="242745"/>
                      </a:moveTo>
                      <a:lnTo>
                        <a:pt x="293724" y="242745"/>
                      </a:lnTo>
                      <a:cubicBezTo>
                        <a:pt x="299244" y="242745"/>
                        <a:pt x="303784" y="247263"/>
                        <a:pt x="303784" y="252756"/>
                      </a:cubicBezTo>
                      <a:cubicBezTo>
                        <a:pt x="303784" y="258337"/>
                        <a:pt x="299244" y="262856"/>
                        <a:pt x="293724" y="262856"/>
                      </a:cubicBezTo>
                      <a:lnTo>
                        <a:pt x="111409" y="262856"/>
                      </a:lnTo>
                      <a:cubicBezTo>
                        <a:pt x="105801" y="262856"/>
                        <a:pt x="101261" y="258337"/>
                        <a:pt x="101261" y="252756"/>
                      </a:cubicBezTo>
                      <a:cubicBezTo>
                        <a:pt x="101261" y="247263"/>
                        <a:pt x="105801" y="242745"/>
                        <a:pt x="111409" y="242745"/>
                      </a:cubicBezTo>
                      <a:close/>
                      <a:moveTo>
                        <a:pt x="476008" y="242704"/>
                      </a:moveTo>
                      <a:cubicBezTo>
                        <a:pt x="470398" y="242704"/>
                        <a:pt x="465855" y="247240"/>
                        <a:pt x="465855" y="252756"/>
                      </a:cubicBezTo>
                      <a:cubicBezTo>
                        <a:pt x="465855" y="258360"/>
                        <a:pt x="470398" y="262897"/>
                        <a:pt x="476008" y="262897"/>
                      </a:cubicBezTo>
                      <a:cubicBezTo>
                        <a:pt x="481530" y="262897"/>
                        <a:pt x="486072" y="258360"/>
                        <a:pt x="486072" y="252756"/>
                      </a:cubicBezTo>
                      <a:cubicBezTo>
                        <a:pt x="486072" y="247240"/>
                        <a:pt x="481530" y="242704"/>
                        <a:pt x="476008" y="242704"/>
                      </a:cubicBezTo>
                      <a:close/>
                      <a:moveTo>
                        <a:pt x="394910" y="242704"/>
                      </a:moveTo>
                      <a:cubicBezTo>
                        <a:pt x="389388" y="242704"/>
                        <a:pt x="384846" y="247240"/>
                        <a:pt x="384846" y="252756"/>
                      </a:cubicBezTo>
                      <a:cubicBezTo>
                        <a:pt x="384846" y="258360"/>
                        <a:pt x="389388" y="262897"/>
                        <a:pt x="394910" y="262897"/>
                      </a:cubicBezTo>
                      <a:cubicBezTo>
                        <a:pt x="400520" y="262897"/>
                        <a:pt x="405062" y="258360"/>
                        <a:pt x="405062" y="252756"/>
                      </a:cubicBezTo>
                      <a:cubicBezTo>
                        <a:pt x="405062" y="247240"/>
                        <a:pt x="400520" y="242704"/>
                        <a:pt x="394910" y="242704"/>
                      </a:cubicBezTo>
                      <a:close/>
                      <a:moveTo>
                        <a:pt x="476008" y="222422"/>
                      </a:moveTo>
                      <a:cubicBezTo>
                        <a:pt x="492751" y="222422"/>
                        <a:pt x="506377" y="236032"/>
                        <a:pt x="506377" y="252756"/>
                      </a:cubicBezTo>
                      <a:cubicBezTo>
                        <a:pt x="506377" y="269568"/>
                        <a:pt x="492751" y="283179"/>
                        <a:pt x="476008" y="283179"/>
                      </a:cubicBezTo>
                      <a:cubicBezTo>
                        <a:pt x="459176" y="283179"/>
                        <a:pt x="445550" y="269568"/>
                        <a:pt x="445550" y="252756"/>
                      </a:cubicBezTo>
                      <a:cubicBezTo>
                        <a:pt x="445550" y="236032"/>
                        <a:pt x="459176" y="222422"/>
                        <a:pt x="476008" y="222422"/>
                      </a:cubicBezTo>
                      <a:close/>
                      <a:moveTo>
                        <a:pt x="394910" y="222422"/>
                      </a:moveTo>
                      <a:cubicBezTo>
                        <a:pt x="411742" y="222422"/>
                        <a:pt x="425368" y="236032"/>
                        <a:pt x="425368" y="252756"/>
                      </a:cubicBezTo>
                      <a:cubicBezTo>
                        <a:pt x="425368" y="269568"/>
                        <a:pt x="411742" y="283179"/>
                        <a:pt x="394910" y="283179"/>
                      </a:cubicBezTo>
                      <a:cubicBezTo>
                        <a:pt x="378167" y="283179"/>
                        <a:pt x="364541" y="269568"/>
                        <a:pt x="364541" y="252756"/>
                      </a:cubicBezTo>
                      <a:cubicBezTo>
                        <a:pt x="364541" y="236032"/>
                        <a:pt x="378167" y="222422"/>
                        <a:pt x="394910" y="222422"/>
                      </a:cubicBezTo>
                      <a:close/>
                      <a:moveTo>
                        <a:pt x="10146" y="161736"/>
                      </a:moveTo>
                      <a:lnTo>
                        <a:pt x="556988" y="161736"/>
                      </a:lnTo>
                      <a:cubicBezTo>
                        <a:pt x="562595" y="161736"/>
                        <a:pt x="567134" y="166268"/>
                        <a:pt x="567134" y="171866"/>
                      </a:cubicBezTo>
                      <a:cubicBezTo>
                        <a:pt x="567134" y="177464"/>
                        <a:pt x="562595" y="181996"/>
                        <a:pt x="556988" y="181996"/>
                      </a:cubicBezTo>
                      <a:lnTo>
                        <a:pt x="20293" y="181996"/>
                      </a:lnTo>
                      <a:lnTo>
                        <a:pt x="20293" y="293249"/>
                      </a:lnTo>
                      <a:cubicBezTo>
                        <a:pt x="20293" y="298758"/>
                        <a:pt x="15753" y="303290"/>
                        <a:pt x="10146" y="303290"/>
                      </a:cubicBezTo>
                      <a:cubicBezTo>
                        <a:pt x="4539" y="303290"/>
                        <a:pt x="0" y="298758"/>
                        <a:pt x="0" y="293249"/>
                      </a:cubicBezTo>
                      <a:lnTo>
                        <a:pt x="0" y="171866"/>
                      </a:lnTo>
                      <a:cubicBezTo>
                        <a:pt x="0" y="166268"/>
                        <a:pt x="4539" y="161736"/>
                        <a:pt x="10146" y="161736"/>
                      </a:cubicBezTo>
                      <a:close/>
                      <a:moveTo>
                        <a:pt x="111409" y="80868"/>
                      </a:moveTo>
                      <a:lnTo>
                        <a:pt x="293724" y="80868"/>
                      </a:lnTo>
                      <a:cubicBezTo>
                        <a:pt x="299244" y="80868"/>
                        <a:pt x="303784" y="85398"/>
                        <a:pt x="303784" y="90994"/>
                      </a:cubicBezTo>
                      <a:cubicBezTo>
                        <a:pt x="303784" y="96590"/>
                        <a:pt x="299244" y="101120"/>
                        <a:pt x="293724" y="101120"/>
                      </a:cubicBezTo>
                      <a:lnTo>
                        <a:pt x="111409" y="101120"/>
                      </a:lnTo>
                      <a:cubicBezTo>
                        <a:pt x="105801" y="101120"/>
                        <a:pt x="101261" y="96590"/>
                        <a:pt x="101261" y="90994"/>
                      </a:cubicBezTo>
                      <a:cubicBezTo>
                        <a:pt x="101261" y="85398"/>
                        <a:pt x="105801" y="80868"/>
                        <a:pt x="111409" y="80868"/>
                      </a:cubicBezTo>
                      <a:close/>
                      <a:moveTo>
                        <a:pt x="476008" y="80861"/>
                      </a:moveTo>
                      <a:cubicBezTo>
                        <a:pt x="470398" y="80861"/>
                        <a:pt x="465855" y="85394"/>
                        <a:pt x="465855" y="90994"/>
                      </a:cubicBezTo>
                      <a:cubicBezTo>
                        <a:pt x="465855" y="96593"/>
                        <a:pt x="470398" y="101126"/>
                        <a:pt x="476008" y="101126"/>
                      </a:cubicBezTo>
                      <a:cubicBezTo>
                        <a:pt x="481530" y="101126"/>
                        <a:pt x="486072" y="96593"/>
                        <a:pt x="486072" y="90994"/>
                      </a:cubicBezTo>
                      <a:cubicBezTo>
                        <a:pt x="486072" y="85394"/>
                        <a:pt x="481530" y="80861"/>
                        <a:pt x="476008" y="80861"/>
                      </a:cubicBezTo>
                      <a:close/>
                      <a:moveTo>
                        <a:pt x="394910" y="80861"/>
                      </a:moveTo>
                      <a:cubicBezTo>
                        <a:pt x="389388" y="80861"/>
                        <a:pt x="384846" y="85394"/>
                        <a:pt x="384846" y="90994"/>
                      </a:cubicBezTo>
                      <a:cubicBezTo>
                        <a:pt x="384846" y="96593"/>
                        <a:pt x="389388" y="101126"/>
                        <a:pt x="394910" y="101126"/>
                      </a:cubicBezTo>
                      <a:cubicBezTo>
                        <a:pt x="400520" y="101126"/>
                        <a:pt x="405062" y="96593"/>
                        <a:pt x="405062" y="90994"/>
                      </a:cubicBezTo>
                      <a:cubicBezTo>
                        <a:pt x="405062" y="85394"/>
                        <a:pt x="400520" y="80861"/>
                        <a:pt x="394910" y="80861"/>
                      </a:cubicBezTo>
                      <a:close/>
                      <a:moveTo>
                        <a:pt x="476008" y="60686"/>
                      </a:moveTo>
                      <a:cubicBezTo>
                        <a:pt x="492751" y="60686"/>
                        <a:pt x="506377" y="74284"/>
                        <a:pt x="506377" y="90994"/>
                      </a:cubicBezTo>
                      <a:cubicBezTo>
                        <a:pt x="506377" y="107703"/>
                        <a:pt x="492751" y="121302"/>
                        <a:pt x="476008" y="121302"/>
                      </a:cubicBezTo>
                      <a:cubicBezTo>
                        <a:pt x="459176" y="121302"/>
                        <a:pt x="445550" y="107703"/>
                        <a:pt x="445550" y="90994"/>
                      </a:cubicBezTo>
                      <a:cubicBezTo>
                        <a:pt x="445550" y="74284"/>
                        <a:pt x="459176" y="60686"/>
                        <a:pt x="476008" y="60686"/>
                      </a:cubicBezTo>
                      <a:close/>
                      <a:moveTo>
                        <a:pt x="394910" y="60686"/>
                      </a:moveTo>
                      <a:cubicBezTo>
                        <a:pt x="411742" y="60686"/>
                        <a:pt x="425368" y="74284"/>
                        <a:pt x="425368" y="90994"/>
                      </a:cubicBezTo>
                      <a:cubicBezTo>
                        <a:pt x="425368" y="107703"/>
                        <a:pt x="411742" y="121302"/>
                        <a:pt x="394910" y="121302"/>
                      </a:cubicBezTo>
                      <a:cubicBezTo>
                        <a:pt x="378167" y="121302"/>
                        <a:pt x="364541" y="107703"/>
                        <a:pt x="364541" y="90994"/>
                      </a:cubicBezTo>
                      <a:cubicBezTo>
                        <a:pt x="364541" y="74284"/>
                        <a:pt x="378167" y="60686"/>
                        <a:pt x="394910" y="60686"/>
                      </a:cubicBezTo>
                      <a:close/>
                      <a:moveTo>
                        <a:pt x="50644" y="0"/>
                      </a:moveTo>
                      <a:lnTo>
                        <a:pt x="556995" y="0"/>
                      </a:lnTo>
                      <a:cubicBezTo>
                        <a:pt x="582985" y="0"/>
                        <a:pt x="607639" y="24528"/>
                        <a:pt x="607639" y="50567"/>
                      </a:cubicBezTo>
                      <a:lnTo>
                        <a:pt x="607639" y="384277"/>
                      </a:lnTo>
                      <a:cubicBezTo>
                        <a:pt x="607639" y="389787"/>
                        <a:pt x="603100" y="394320"/>
                        <a:pt x="597493" y="394320"/>
                      </a:cubicBezTo>
                      <a:cubicBezTo>
                        <a:pt x="591885" y="394320"/>
                        <a:pt x="587346" y="389787"/>
                        <a:pt x="587346" y="384277"/>
                      </a:cubicBezTo>
                      <a:lnTo>
                        <a:pt x="587346" y="50567"/>
                      </a:lnTo>
                      <a:cubicBezTo>
                        <a:pt x="587346" y="35815"/>
                        <a:pt x="571770" y="20262"/>
                        <a:pt x="556995" y="20262"/>
                      </a:cubicBezTo>
                      <a:lnTo>
                        <a:pt x="50644" y="20262"/>
                      </a:lnTo>
                      <a:cubicBezTo>
                        <a:pt x="35869" y="20262"/>
                        <a:pt x="20293" y="35815"/>
                        <a:pt x="20293" y="50567"/>
                      </a:cubicBezTo>
                      <a:lnTo>
                        <a:pt x="20293" y="131440"/>
                      </a:lnTo>
                      <a:cubicBezTo>
                        <a:pt x="20293" y="137039"/>
                        <a:pt x="15754" y="141571"/>
                        <a:pt x="10146" y="141571"/>
                      </a:cubicBezTo>
                      <a:cubicBezTo>
                        <a:pt x="4539" y="141571"/>
                        <a:pt x="0" y="137039"/>
                        <a:pt x="0" y="131440"/>
                      </a:cubicBezTo>
                      <a:lnTo>
                        <a:pt x="0" y="50567"/>
                      </a:lnTo>
                      <a:cubicBezTo>
                        <a:pt x="0" y="24528"/>
                        <a:pt x="24565" y="0"/>
                        <a:pt x="5064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</p:sp>
            <p:sp>
              <p:nvSpPr>
                <p:cNvPr id="63" name="server_182394"/>
                <p:cNvSpPr>
                  <a:spLocks noChangeAspect="1"/>
                </p:cNvSpPr>
                <p:nvPr/>
              </p:nvSpPr>
              <p:spPr bwMode="auto">
                <a:xfrm>
                  <a:off x="947036" y="990520"/>
                  <a:ext cx="305240" cy="304779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  <a:gd name="connsiteX68" fmla="*/ 325000 h 606722"/>
                    <a:gd name="connsiteY68" fmla="*/ 325000 h 606722"/>
                    <a:gd name="connsiteX69" fmla="*/ 325000 h 606722"/>
                    <a:gd name="connsiteY69" fmla="*/ 325000 h 606722"/>
                    <a:gd name="connsiteX70" fmla="*/ 325000 h 606722"/>
                    <a:gd name="connsiteY70" fmla="*/ 325000 h 606722"/>
                    <a:gd name="connsiteX71" fmla="*/ 325000 h 606722"/>
                    <a:gd name="connsiteY71" fmla="*/ 325000 h 606722"/>
                    <a:gd name="connsiteX72" fmla="*/ 325000 h 606722"/>
                    <a:gd name="connsiteY72" fmla="*/ 325000 h 606722"/>
                    <a:gd name="connsiteX73" fmla="*/ 325000 h 606722"/>
                    <a:gd name="connsiteY73" fmla="*/ 325000 h 606722"/>
                    <a:gd name="connsiteX74" fmla="*/ 325000 h 606722"/>
                    <a:gd name="connsiteY74" fmla="*/ 325000 h 606722"/>
                    <a:gd name="connsiteX75" fmla="*/ 325000 h 606722"/>
                    <a:gd name="connsiteY75" fmla="*/ 325000 h 606722"/>
                    <a:gd name="connsiteX76" fmla="*/ 325000 h 606722"/>
                    <a:gd name="connsiteY76" fmla="*/ 325000 h 606722"/>
                    <a:gd name="connsiteX77" fmla="*/ 325000 h 606722"/>
                    <a:gd name="connsiteY77" fmla="*/ 325000 h 606722"/>
                    <a:gd name="connsiteX78" fmla="*/ 325000 h 606722"/>
                    <a:gd name="connsiteY78" fmla="*/ 325000 h 606722"/>
                    <a:gd name="connsiteX79" fmla="*/ 325000 h 606722"/>
                    <a:gd name="connsiteY79" fmla="*/ 325000 h 606722"/>
                    <a:gd name="connsiteX80" fmla="*/ 325000 h 606722"/>
                    <a:gd name="connsiteY80" fmla="*/ 325000 h 606722"/>
                    <a:gd name="connsiteX81" fmla="*/ 325000 h 606722"/>
                    <a:gd name="connsiteY81" fmla="*/ 325000 h 606722"/>
                    <a:gd name="connsiteX82" fmla="*/ 325000 h 606722"/>
                    <a:gd name="connsiteY82" fmla="*/ 325000 h 606722"/>
                    <a:gd name="connsiteX83" fmla="*/ 325000 h 606722"/>
                    <a:gd name="connsiteY83" fmla="*/ 325000 h 606722"/>
                    <a:gd name="connsiteX84" fmla="*/ 325000 h 606722"/>
                    <a:gd name="connsiteY84" fmla="*/ 325000 h 606722"/>
                    <a:gd name="connsiteX85" fmla="*/ 325000 h 606722"/>
                    <a:gd name="connsiteY85" fmla="*/ 325000 h 606722"/>
                    <a:gd name="connsiteX86" fmla="*/ 325000 h 606722"/>
                    <a:gd name="connsiteY86" fmla="*/ 325000 h 606722"/>
                    <a:gd name="connsiteX87" fmla="*/ 325000 h 606722"/>
                    <a:gd name="connsiteY87" fmla="*/ 325000 h 606722"/>
                    <a:gd name="connsiteX88" fmla="*/ 325000 h 606722"/>
                    <a:gd name="connsiteY88" fmla="*/ 325000 h 606722"/>
                    <a:gd name="connsiteX89" fmla="*/ 325000 h 606722"/>
                    <a:gd name="connsiteY89" fmla="*/ 325000 h 606722"/>
                    <a:gd name="connsiteX90" fmla="*/ 325000 h 606722"/>
                    <a:gd name="connsiteY90" fmla="*/ 325000 h 606722"/>
                    <a:gd name="connsiteX91" fmla="*/ 325000 h 606722"/>
                    <a:gd name="connsiteY91" fmla="*/ 325000 h 606722"/>
                    <a:gd name="connsiteX92" fmla="*/ 325000 h 606722"/>
                    <a:gd name="connsiteY92" fmla="*/ 325000 h 606722"/>
                    <a:gd name="connsiteX93" fmla="*/ 325000 h 606722"/>
                    <a:gd name="connsiteY93" fmla="*/ 325000 h 606722"/>
                    <a:gd name="connsiteX94" fmla="*/ 325000 h 606722"/>
                    <a:gd name="connsiteY94" fmla="*/ 325000 h 606722"/>
                    <a:gd name="connsiteX95" fmla="*/ 325000 h 606722"/>
                    <a:gd name="connsiteY95" fmla="*/ 325000 h 606722"/>
                    <a:gd name="connsiteX96" fmla="*/ 325000 h 606722"/>
                    <a:gd name="connsiteY96" fmla="*/ 325000 h 606722"/>
                    <a:gd name="connsiteX97" fmla="*/ 325000 h 606722"/>
                    <a:gd name="connsiteY97" fmla="*/ 325000 h 606722"/>
                    <a:gd name="connsiteX98" fmla="*/ 325000 h 606722"/>
                    <a:gd name="connsiteY98" fmla="*/ 325000 h 606722"/>
                    <a:gd name="connsiteX99" fmla="*/ 325000 h 606722"/>
                    <a:gd name="connsiteY99" fmla="*/ 325000 h 606722"/>
                    <a:gd name="connsiteX100" fmla="*/ 325000 h 606722"/>
                    <a:gd name="connsiteY100" fmla="*/ 325000 h 606722"/>
                    <a:gd name="connsiteX101" fmla="*/ 325000 h 606722"/>
                    <a:gd name="connsiteY101" fmla="*/ 325000 h 606722"/>
                    <a:gd name="connsiteX102" fmla="*/ 325000 h 606722"/>
                    <a:gd name="connsiteY102" fmla="*/ 325000 h 606722"/>
                    <a:gd name="connsiteX103" fmla="*/ 325000 h 606722"/>
                    <a:gd name="connsiteY103" fmla="*/ 325000 h 606722"/>
                    <a:gd name="connsiteX104" fmla="*/ 325000 h 606722"/>
                    <a:gd name="connsiteY104" fmla="*/ 325000 h 606722"/>
                    <a:gd name="connsiteX105" fmla="*/ 325000 h 606722"/>
                    <a:gd name="connsiteY105" fmla="*/ 325000 h 606722"/>
                    <a:gd name="connsiteX106" fmla="*/ 325000 h 606722"/>
                    <a:gd name="connsiteY106" fmla="*/ 325000 h 606722"/>
                    <a:gd name="connsiteX107" fmla="*/ 325000 h 606722"/>
                    <a:gd name="connsiteY107" fmla="*/ 325000 h 606722"/>
                    <a:gd name="connsiteX108" fmla="*/ 325000 h 606722"/>
                    <a:gd name="connsiteY108" fmla="*/ 325000 h 606722"/>
                    <a:gd name="connsiteX109" fmla="*/ 325000 h 606722"/>
                    <a:gd name="connsiteY109" fmla="*/ 325000 h 606722"/>
                    <a:gd name="connsiteX110" fmla="*/ 325000 h 606722"/>
                    <a:gd name="connsiteY110" fmla="*/ 325000 h 606722"/>
                    <a:gd name="connsiteX111" fmla="*/ 325000 h 606722"/>
                    <a:gd name="connsiteY111" fmla="*/ 325000 h 606722"/>
                    <a:gd name="connsiteX112" fmla="*/ 325000 h 606722"/>
                    <a:gd name="connsiteY112" fmla="*/ 325000 h 606722"/>
                    <a:gd name="connsiteX113" fmla="*/ 325000 h 606722"/>
                    <a:gd name="connsiteY113" fmla="*/ 325000 h 606722"/>
                    <a:gd name="connsiteX114" fmla="*/ 325000 h 606722"/>
                    <a:gd name="connsiteY114" fmla="*/ 325000 h 606722"/>
                    <a:gd name="connsiteX115" fmla="*/ 325000 h 606722"/>
                    <a:gd name="connsiteY115" fmla="*/ 325000 h 606722"/>
                    <a:gd name="connsiteX116" fmla="*/ 325000 h 606722"/>
                    <a:gd name="connsiteY116" fmla="*/ 325000 h 606722"/>
                    <a:gd name="connsiteX117" fmla="*/ 325000 h 606722"/>
                    <a:gd name="connsiteY117" fmla="*/ 325000 h 606722"/>
                    <a:gd name="connsiteX118" fmla="*/ 325000 h 606722"/>
                    <a:gd name="connsiteY118" fmla="*/ 325000 h 606722"/>
                    <a:gd name="connsiteX119" fmla="*/ 325000 h 606722"/>
                    <a:gd name="connsiteY119" fmla="*/ 325000 h 606722"/>
                    <a:gd name="connsiteX120" fmla="*/ 325000 h 606722"/>
                    <a:gd name="connsiteY120" fmla="*/ 325000 h 606722"/>
                    <a:gd name="connsiteX121" fmla="*/ 325000 h 606722"/>
                    <a:gd name="connsiteY121" fmla="*/ 325000 h 606722"/>
                    <a:gd name="connsiteX122" fmla="*/ 325000 h 606722"/>
                    <a:gd name="connsiteY122" fmla="*/ 325000 h 606722"/>
                    <a:gd name="connsiteX123" fmla="*/ 325000 h 606722"/>
                    <a:gd name="connsiteY123" fmla="*/ 325000 h 606722"/>
                    <a:gd name="connsiteX124" fmla="*/ 325000 h 606722"/>
                    <a:gd name="connsiteY124" fmla="*/ 325000 h 606722"/>
                    <a:gd name="connsiteX125" fmla="*/ 325000 h 606722"/>
                    <a:gd name="connsiteY125" fmla="*/ 325000 h 606722"/>
                    <a:gd name="connsiteX126" fmla="*/ 325000 h 606722"/>
                    <a:gd name="connsiteY126" fmla="*/ 325000 h 606722"/>
                    <a:gd name="connsiteX127" fmla="*/ 325000 h 606722"/>
                    <a:gd name="connsiteY127" fmla="*/ 325000 h 606722"/>
                    <a:gd name="connsiteX128" fmla="*/ 325000 h 606722"/>
                    <a:gd name="connsiteY128" fmla="*/ 325000 h 606722"/>
                    <a:gd name="connsiteX129" fmla="*/ 325000 h 606722"/>
                    <a:gd name="connsiteY129" fmla="*/ 325000 h 606722"/>
                    <a:gd name="connsiteX130" fmla="*/ 325000 h 606722"/>
                    <a:gd name="connsiteY130" fmla="*/ 325000 h 606722"/>
                    <a:gd name="connsiteX131" fmla="*/ 325000 h 606722"/>
                    <a:gd name="connsiteY131" fmla="*/ 325000 h 606722"/>
                    <a:gd name="connsiteX132" fmla="*/ 325000 h 606722"/>
                    <a:gd name="connsiteY132" fmla="*/ 325000 h 606722"/>
                    <a:gd name="connsiteX133" fmla="*/ 325000 h 606722"/>
                    <a:gd name="connsiteY133" fmla="*/ 325000 h 606722"/>
                    <a:gd name="connsiteX134" fmla="*/ 325000 h 606722"/>
                    <a:gd name="connsiteY134" fmla="*/ 325000 h 606722"/>
                    <a:gd name="connsiteX135" fmla="*/ 325000 h 606722"/>
                    <a:gd name="connsiteY135" fmla="*/ 325000 h 606722"/>
                    <a:gd name="connsiteX136" fmla="*/ 325000 h 606722"/>
                    <a:gd name="connsiteY136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</a:cxnLst>
                  <a:rect l="l" t="t" r="r" b="b"/>
                  <a:pathLst>
                    <a:path w="607639" h="606722">
                      <a:moveTo>
                        <a:pt x="486081" y="475259"/>
                      </a:moveTo>
                      <a:cubicBezTo>
                        <a:pt x="497298" y="475259"/>
                        <a:pt x="506378" y="484329"/>
                        <a:pt x="506378" y="495443"/>
                      </a:cubicBezTo>
                      <a:cubicBezTo>
                        <a:pt x="506378" y="502912"/>
                        <a:pt x="502283" y="509403"/>
                        <a:pt x="496230" y="512871"/>
                      </a:cubicBezTo>
                      <a:lnTo>
                        <a:pt x="496230" y="535900"/>
                      </a:lnTo>
                      <a:cubicBezTo>
                        <a:pt x="496230" y="541502"/>
                        <a:pt x="491690" y="546036"/>
                        <a:pt x="486081" y="546036"/>
                      </a:cubicBezTo>
                      <a:cubicBezTo>
                        <a:pt x="480562" y="546036"/>
                        <a:pt x="476022" y="541502"/>
                        <a:pt x="476022" y="535900"/>
                      </a:cubicBezTo>
                      <a:lnTo>
                        <a:pt x="476022" y="512871"/>
                      </a:lnTo>
                      <a:cubicBezTo>
                        <a:pt x="469968" y="509403"/>
                        <a:pt x="465873" y="502912"/>
                        <a:pt x="465873" y="495443"/>
                      </a:cubicBezTo>
                      <a:cubicBezTo>
                        <a:pt x="465873" y="484329"/>
                        <a:pt x="474953" y="475259"/>
                        <a:pt x="486081" y="475259"/>
                      </a:cubicBezTo>
                      <a:close/>
                      <a:moveTo>
                        <a:pt x="415190" y="424698"/>
                      </a:moveTo>
                      <a:cubicBezTo>
                        <a:pt x="398455" y="424698"/>
                        <a:pt x="384836" y="438297"/>
                        <a:pt x="384836" y="455006"/>
                      </a:cubicBezTo>
                      <a:lnTo>
                        <a:pt x="384836" y="556150"/>
                      </a:lnTo>
                      <a:cubicBezTo>
                        <a:pt x="384836" y="572859"/>
                        <a:pt x="398455" y="586458"/>
                        <a:pt x="415190" y="586458"/>
                      </a:cubicBezTo>
                      <a:lnTo>
                        <a:pt x="556990" y="586458"/>
                      </a:lnTo>
                      <a:cubicBezTo>
                        <a:pt x="573725" y="586458"/>
                        <a:pt x="587344" y="572859"/>
                        <a:pt x="587344" y="556150"/>
                      </a:cubicBezTo>
                      <a:lnTo>
                        <a:pt x="587344" y="455006"/>
                      </a:lnTo>
                      <a:cubicBezTo>
                        <a:pt x="587344" y="438297"/>
                        <a:pt x="573725" y="424698"/>
                        <a:pt x="556990" y="424698"/>
                      </a:cubicBezTo>
                      <a:close/>
                      <a:moveTo>
                        <a:pt x="111409" y="404481"/>
                      </a:moveTo>
                      <a:lnTo>
                        <a:pt x="293724" y="404481"/>
                      </a:lnTo>
                      <a:cubicBezTo>
                        <a:pt x="299244" y="404481"/>
                        <a:pt x="303784" y="409011"/>
                        <a:pt x="303784" y="414607"/>
                      </a:cubicBezTo>
                      <a:cubicBezTo>
                        <a:pt x="303784" y="420203"/>
                        <a:pt x="299244" y="424733"/>
                        <a:pt x="293724" y="424733"/>
                      </a:cubicBezTo>
                      <a:lnTo>
                        <a:pt x="111409" y="424733"/>
                      </a:lnTo>
                      <a:cubicBezTo>
                        <a:pt x="105801" y="424733"/>
                        <a:pt x="101261" y="420203"/>
                        <a:pt x="101261" y="414607"/>
                      </a:cubicBezTo>
                      <a:cubicBezTo>
                        <a:pt x="101261" y="409011"/>
                        <a:pt x="105801" y="404481"/>
                        <a:pt x="111409" y="404481"/>
                      </a:cubicBezTo>
                      <a:close/>
                      <a:moveTo>
                        <a:pt x="10146" y="323613"/>
                      </a:moveTo>
                      <a:lnTo>
                        <a:pt x="394900" y="323613"/>
                      </a:lnTo>
                      <a:cubicBezTo>
                        <a:pt x="400507" y="323613"/>
                        <a:pt x="405046" y="328145"/>
                        <a:pt x="405046" y="333743"/>
                      </a:cubicBezTo>
                      <a:cubicBezTo>
                        <a:pt x="405046" y="339252"/>
                        <a:pt x="400507" y="343784"/>
                        <a:pt x="394900" y="343784"/>
                      </a:cubicBezTo>
                      <a:lnTo>
                        <a:pt x="20292" y="343784"/>
                      </a:lnTo>
                      <a:lnTo>
                        <a:pt x="20292" y="455039"/>
                      </a:lnTo>
                      <a:cubicBezTo>
                        <a:pt x="20292" y="469790"/>
                        <a:pt x="35867" y="485341"/>
                        <a:pt x="50642" y="485341"/>
                      </a:cubicBezTo>
                      <a:lnTo>
                        <a:pt x="334201" y="485341"/>
                      </a:lnTo>
                      <a:cubicBezTo>
                        <a:pt x="339719" y="485341"/>
                        <a:pt x="344258" y="489873"/>
                        <a:pt x="344258" y="495471"/>
                      </a:cubicBezTo>
                      <a:cubicBezTo>
                        <a:pt x="344258" y="501069"/>
                        <a:pt x="339719" y="505601"/>
                        <a:pt x="334201" y="505601"/>
                      </a:cubicBezTo>
                      <a:lnTo>
                        <a:pt x="50642" y="505601"/>
                      </a:lnTo>
                      <a:cubicBezTo>
                        <a:pt x="24564" y="505601"/>
                        <a:pt x="0" y="480987"/>
                        <a:pt x="0" y="455039"/>
                      </a:cubicBezTo>
                      <a:lnTo>
                        <a:pt x="0" y="333743"/>
                      </a:lnTo>
                      <a:cubicBezTo>
                        <a:pt x="0" y="328145"/>
                        <a:pt x="4539" y="323613"/>
                        <a:pt x="10146" y="323613"/>
                      </a:cubicBezTo>
                      <a:close/>
                      <a:moveTo>
                        <a:pt x="486046" y="323554"/>
                      </a:moveTo>
                      <a:cubicBezTo>
                        <a:pt x="463703" y="323554"/>
                        <a:pt x="445544" y="341685"/>
                        <a:pt x="445544" y="363994"/>
                      </a:cubicBezTo>
                      <a:lnTo>
                        <a:pt x="445544" y="404434"/>
                      </a:lnTo>
                      <a:lnTo>
                        <a:pt x="526547" y="404434"/>
                      </a:lnTo>
                      <a:lnTo>
                        <a:pt x="526547" y="363994"/>
                      </a:lnTo>
                      <a:cubicBezTo>
                        <a:pt x="526547" y="341685"/>
                        <a:pt x="508388" y="323554"/>
                        <a:pt x="486046" y="323554"/>
                      </a:cubicBezTo>
                      <a:close/>
                      <a:moveTo>
                        <a:pt x="486046" y="303290"/>
                      </a:moveTo>
                      <a:cubicBezTo>
                        <a:pt x="519604" y="303290"/>
                        <a:pt x="546842" y="330576"/>
                        <a:pt x="546842" y="363994"/>
                      </a:cubicBezTo>
                      <a:lnTo>
                        <a:pt x="546842" y="404434"/>
                      </a:lnTo>
                      <a:lnTo>
                        <a:pt x="556990" y="404434"/>
                      </a:lnTo>
                      <a:cubicBezTo>
                        <a:pt x="584852" y="404434"/>
                        <a:pt x="607639" y="427098"/>
                        <a:pt x="607639" y="455006"/>
                      </a:cubicBezTo>
                      <a:lnTo>
                        <a:pt x="607639" y="556150"/>
                      </a:lnTo>
                      <a:cubicBezTo>
                        <a:pt x="607639" y="583969"/>
                        <a:pt x="584852" y="606722"/>
                        <a:pt x="556990" y="606722"/>
                      </a:cubicBezTo>
                      <a:lnTo>
                        <a:pt x="415190" y="606722"/>
                      </a:lnTo>
                      <a:cubicBezTo>
                        <a:pt x="387239" y="606722"/>
                        <a:pt x="364541" y="583969"/>
                        <a:pt x="364541" y="556150"/>
                      </a:cubicBezTo>
                      <a:lnTo>
                        <a:pt x="364541" y="455006"/>
                      </a:lnTo>
                      <a:cubicBezTo>
                        <a:pt x="364541" y="427098"/>
                        <a:pt x="387239" y="404434"/>
                        <a:pt x="415190" y="404434"/>
                      </a:cubicBezTo>
                      <a:lnTo>
                        <a:pt x="425338" y="404434"/>
                      </a:lnTo>
                      <a:lnTo>
                        <a:pt x="425338" y="363994"/>
                      </a:lnTo>
                      <a:cubicBezTo>
                        <a:pt x="425338" y="330576"/>
                        <a:pt x="452576" y="303290"/>
                        <a:pt x="486046" y="303290"/>
                      </a:cubicBezTo>
                      <a:close/>
                      <a:moveTo>
                        <a:pt x="111409" y="242745"/>
                      </a:moveTo>
                      <a:lnTo>
                        <a:pt x="293724" y="242745"/>
                      </a:lnTo>
                      <a:cubicBezTo>
                        <a:pt x="299244" y="242745"/>
                        <a:pt x="303784" y="247263"/>
                        <a:pt x="303784" y="252756"/>
                      </a:cubicBezTo>
                      <a:cubicBezTo>
                        <a:pt x="303784" y="258337"/>
                        <a:pt x="299244" y="262856"/>
                        <a:pt x="293724" y="262856"/>
                      </a:cubicBezTo>
                      <a:lnTo>
                        <a:pt x="111409" y="262856"/>
                      </a:lnTo>
                      <a:cubicBezTo>
                        <a:pt x="105801" y="262856"/>
                        <a:pt x="101261" y="258337"/>
                        <a:pt x="101261" y="252756"/>
                      </a:cubicBezTo>
                      <a:cubicBezTo>
                        <a:pt x="101261" y="247263"/>
                        <a:pt x="105801" y="242745"/>
                        <a:pt x="111409" y="242745"/>
                      </a:cubicBezTo>
                      <a:close/>
                      <a:moveTo>
                        <a:pt x="476008" y="242704"/>
                      </a:moveTo>
                      <a:cubicBezTo>
                        <a:pt x="470398" y="242704"/>
                        <a:pt x="465855" y="247240"/>
                        <a:pt x="465855" y="252756"/>
                      </a:cubicBezTo>
                      <a:cubicBezTo>
                        <a:pt x="465855" y="258360"/>
                        <a:pt x="470398" y="262897"/>
                        <a:pt x="476008" y="262897"/>
                      </a:cubicBezTo>
                      <a:cubicBezTo>
                        <a:pt x="481530" y="262897"/>
                        <a:pt x="486072" y="258360"/>
                        <a:pt x="486072" y="252756"/>
                      </a:cubicBezTo>
                      <a:cubicBezTo>
                        <a:pt x="486072" y="247240"/>
                        <a:pt x="481530" y="242704"/>
                        <a:pt x="476008" y="242704"/>
                      </a:cubicBezTo>
                      <a:close/>
                      <a:moveTo>
                        <a:pt x="394910" y="242704"/>
                      </a:moveTo>
                      <a:cubicBezTo>
                        <a:pt x="389388" y="242704"/>
                        <a:pt x="384846" y="247240"/>
                        <a:pt x="384846" y="252756"/>
                      </a:cubicBezTo>
                      <a:cubicBezTo>
                        <a:pt x="384846" y="258360"/>
                        <a:pt x="389388" y="262897"/>
                        <a:pt x="394910" y="262897"/>
                      </a:cubicBezTo>
                      <a:cubicBezTo>
                        <a:pt x="400520" y="262897"/>
                        <a:pt x="405062" y="258360"/>
                        <a:pt x="405062" y="252756"/>
                      </a:cubicBezTo>
                      <a:cubicBezTo>
                        <a:pt x="405062" y="247240"/>
                        <a:pt x="400520" y="242704"/>
                        <a:pt x="394910" y="242704"/>
                      </a:cubicBezTo>
                      <a:close/>
                      <a:moveTo>
                        <a:pt x="476008" y="222422"/>
                      </a:moveTo>
                      <a:cubicBezTo>
                        <a:pt x="492751" y="222422"/>
                        <a:pt x="506377" y="236032"/>
                        <a:pt x="506377" y="252756"/>
                      </a:cubicBezTo>
                      <a:cubicBezTo>
                        <a:pt x="506377" y="269568"/>
                        <a:pt x="492751" y="283179"/>
                        <a:pt x="476008" y="283179"/>
                      </a:cubicBezTo>
                      <a:cubicBezTo>
                        <a:pt x="459176" y="283179"/>
                        <a:pt x="445550" y="269568"/>
                        <a:pt x="445550" y="252756"/>
                      </a:cubicBezTo>
                      <a:cubicBezTo>
                        <a:pt x="445550" y="236032"/>
                        <a:pt x="459176" y="222422"/>
                        <a:pt x="476008" y="222422"/>
                      </a:cubicBezTo>
                      <a:close/>
                      <a:moveTo>
                        <a:pt x="394910" y="222422"/>
                      </a:moveTo>
                      <a:cubicBezTo>
                        <a:pt x="411742" y="222422"/>
                        <a:pt x="425368" y="236032"/>
                        <a:pt x="425368" y="252756"/>
                      </a:cubicBezTo>
                      <a:cubicBezTo>
                        <a:pt x="425368" y="269568"/>
                        <a:pt x="411742" y="283179"/>
                        <a:pt x="394910" y="283179"/>
                      </a:cubicBezTo>
                      <a:cubicBezTo>
                        <a:pt x="378167" y="283179"/>
                        <a:pt x="364541" y="269568"/>
                        <a:pt x="364541" y="252756"/>
                      </a:cubicBezTo>
                      <a:cubicBezTo>
                        <a:pt x="364541" y="236032"/>
                        <a:pt x="378167" y="222422"/>
                        <a:pt x="394910" y="222422"/>
                      </a:cubicBezTo>
                      <a:close/>
                      <a:moveTo>
                        <a:pt x="10146" y="161736"/>
                      </a:moveTo>
                      <a:lnTo>
                        <a:pt x="556988" y="161736"/>
                      </a:lnTo>
                      <a:cubicBezTo>
                        <a:pt x="562595" y="161736"/>
                        <a:pt x="567134" y="166268"/>
                        <a:pt x="567134" y="171866"/>
                      </a:cubicBezTo>
                      <a:cubicBezTo>
                        <a:pt x="567134" y="177464"/>
                        <a:pt x="562595" y="181996"/>
                        <a:pt x="556988" y="181996"/>
                      </a:cubicBezTo>
                      <a:lnTo>
                        <a:pt x="20293" y="181996"/>
                      </a:lnTo>
                      <a:lnTo>
                        <a:pt x="20293" y="293249"/>
                      </a:lnTo>
                      <a:cubicBezTo>
                        <a:pt x="20293" y="298758"/>
                        <a:pt x="15753" y="303290"/>
                        <a:pt x="10146" y="303290"/>
                      </a:cubicBezTo>
                      <a:cubicBezTo>
                        <a:pt x="4539" y="303290"/>
                        <a:pt x="0" y="298758"/>
                        <a:pt x="0" y="293249"/>
                      </a:cubicBezTo>
                      <a:lnTo>
                        <a:pt x="0" y="171866"/>
                      </a:lnTo>
                      <a:cubicBezTo>
                        <a:pt x="0" y="166268"/>
                        <a:pt x="4539" y="161736"/>
                        <a:pt x="10146" y="161736"/>
                      </a:cubicBezTo>
                      <a:close/>
                      <a:moveTo>
                        <a:pt x="111409" y="80868"/>
                      </a:moveTo>
                      <a:lnTo>
                        <a:pt x="293724" y="80868"/>
                      </a:lnTo>
                      <a:cubicBezTo>
                        <a:pt x="299244" y="80868"/>
                        <a:pt x="303784" y="85398"/>
                        <a:pt x="303784" y="90994"/>
                      </a:cubicBezTo>
                      <a:cubicBezTo>
                        <a:pt x="303784" y="96590"/>
                        <a:pt x="299244" y="101120"/>
                        <a:pt x="293724" y="101120"/>
                      </a:cubicBezTo>
                      <a:lnTo>
                        <a:pt x="111409" y="101120"/>
                      </a:lnTo>
                      <a:cubicBezTo>
                        <a:pt x="105801" y="101120"/>
                        <a:pt x="101261" y="96590"/>
                        <a:pt x="101261" y="90994"/>
                      </a:cubicBezTo>
                      <a:cubicBezTo>
                        <a:pt x="101261" y="85398"/>
                        <a:pt x="105801" y="80868"/>
                        <a:pt x="111409" y="80868"/>
                      </a:cubicBezTo>
                      <a:close/>
                      <a:moveTo>
                        <a:pt x="476008" y="80861"/>
                      </a:moveTo>
                      <a:cubicBezTo>
                        <a:pt x="470398" y="80861"/>
                        <a:pt x="465855" y="85394"/>
                        <a:pt x="465855" y="90994"/>
                      </a:cubicBezTo>
                      <a:cubicBezTo>
                        <a:pt x="465855" y="96593"/>
                        <a:pt x="470398" y="101126"/>
                        <a:pt x="476008" y="101126"/>
                      </a:cubicBezTo>
                      <a:cubicBezTo>
                        <a:pt x="481530" y="101126"/>
                        <a:pt x="486072" y="96593"/>
                        <a:pt x="486072" y="90994"/>
                      </a:cubicBezTo>
                      <a:cubicBezTo>
                        <a:pt x="486072" y="85394"/>
                        <a:pt x="481530" y="80861"/>
                        <a:pt x="476008" y="80861"/>
                      </a:cubicBezTo>
                      <a:close/>
                      <a:moveTo>
                        <a:pt x="394910" y="80861"/>
                      </a:moveTo>
                      <a:cubicBezTo>
                        <a:pt x="389388" y="80861"/>
                        <a:pt x="384846" y="85394"/>
                        <a:pt x="384846" y="90994"/>
                      </a:cubicBezTo>
                      <a:cubicBezTo>
                        <a:pt x="384846" y="96593"/>
                        <a:pt x="389388" y="101126"/>
                        <a:pt x="394910" y="101126"/>
                      </a:cubicBezTo>
                      <a:cubicBezTo>
                        <a:pt x="400520" y="101126"/>
                        <a:pt x="405062" y="96593"/>
                        <a:pt x="405062" y="90994"/>
                      </a:cubicBezTo>
                      <a:cubicBezTo>
                        <a:pt x="405062" y="85394"/>
                        <a:pt x="400520" y="80861"/>
                        <a:pt x="394910" y="80861"/>
                      </a:cubicBezTo>
                      <a:close/>
                      <a:moveTo>
                        <a:pt x="476008" y="60686"/>
                      </a:moveTo>
                      <a:cubicBezTo>
                        <a:pt x="492751" y="60686"/>
                        <a:pt x="506377" y="74284"/>
                        <a:pt x="506377" y="90994"/>
                      </a:cubicBezTo>
                      <a:cubicBezTo>
                        <a:pt x="506377" y="107703"/>
                        <a:pt x="492751" y="121302"/>
                        <a:pt x="476008" y="121302"/>
                      </a:cubicBezTo>
                      <a:cubicBezTo>
                        <a:pt x="459176" y="121302"/>
                        <a:pt x="445550" y="107703"/>
                        <a:pt x="445550" y="90994"/>
                      </a:cubicBezTo>
                      <a:cubicBezTo>
                        <a:pt x="445550" y="74284"/>
                        <a:pt x="459176" y="60686"/>
                        <a:pt x="476008" y="60686"/>
                      </a:cubicBezTo>
                      <a:close/>
                      <a:moveTo>
                        <a:pt x="394910" y="60686"/>
                      </a:moveTo>
                      <a:cubicBezTo>
                        <a:pt x="411742" y="60686"/>
                        <a:pt x="425368" y="74284"/>
                        <a:pt x="425368" y="90994"/>
                      </a:cubicBezTo>
                      <a:cubicBezTo>
                        <a:pt x="425368" y="107703"/>
                        <a:pt x="411742" y="121302"/>
                        <a:pt x="394910" y="121302"/>
                      </a:cubicBezTo>
                      <a:cubicBezTo>
                        <a:pt x="378167" y="121302"/>
                        <a:pt x="364541" y="107703"/>
                        <a:pt x="364541" y="90994"/>
                      </a:cubicBezTo>
                      <a:cubicBezTo>
                        <a:pt x="364541" y="74284"/>
                        <a:pt x="378167" y="60686"/>
                        <a:pt x="394910" y="60686"/>
                      </a:cubicBezTo>
                      <a:close/>
                      <a:moveTo>
                        <a:pt x="50644" y="0"/>
                      </a:moveTo>
                      <a:lnTo>
                        <a:pt x="556995" y="0"/>
                      </a:lnTo>
                      <a:cubicBezTo>
                        <a:pt x="582985" y="0"/>
                        <a:pt x="607639" y="24528"/>
                        <a:pt x="607639" y="50567"/>
                      </a:cubicBezTo>
                      <a:lnTo>
                        <a:pt x="607639" y="384277"/>
                      </a:lnTo>
                      <a:cubicBezTo>
                        <a:pt x="607639" y="389787"/>
                        <a:pt x="603100" y="394320"/>
                        <a:pt x="597493" y="394320"/>
                      </a:cubicBezTo>
                      <a:cubicBezTo>
                        <a:pt x="591885" y="394320"/>
                        <a:pt x="587346" y="389787"/>
                        <a:pt x="587346" y="384277"/>
                      </a:cubicBezTo>
                      <a:lnTo>
                        <a:pt x="587346" y="50567"/>
                      </a:lnTo>
                      <a:cubicBezTo>
                        <a:pt x="587346" y="35815"/>
                        <a:pt x="571770" y="20262"/>
                        <a:pt x="556995" y="20262"/>
                      </a:cubicBezTo>
                      <a:lnTo>
                        <a:pt x="50644" y="20262"/>
                      </a:lnTo>
                      <a:cubicBezTo>
                        <a:pt x="35869" y="20262"/>
                        <a:pt x="20293" y="35815"/>
                        <a:pt x="20293" y="50567"/>
                      </a:cubicBezTo>
                      <a:lnTo>
                        <a:pt x="20293" y="131440"/>
                      </a:lnTo>
                      <a:cubicBezTo>
                        <a:pt x="20293" y="137039"/>
                        <a:pt x="15754" y="141571"/>
                        <a:pt x="10146" y="141571"/>
                      </a:cubicBezTo>
                      <a:cubicBezTo>
                        <a:pt x="4539" y="141571"/>
                        <a:pt x="0" y="137039"/>
                        <a:pt x="0" y="131440"/>
                      </a:cubicBezTo>
                      <a:lnTo>
                        <a:pt x="0" y="50567"/>
                      </a:lnTo>
                      <a:cubicBezTo>
                        <a:pt x="0" y="24528"/>
                        <a:pt x="24565" y="0"/>
                        <a:pt x="50644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solidFill>
                    <a:schemeClr val="tx1"/>
                  </a:solidFill>
                </a:ln>
              </p:spPr>
            </p:sp>
          </p:grpSp>
          <p:sp>
            <p:nvSpPr>
              <p:cNvPr id="19" name="文本框 18"/>
              <p:cNvSpPr txBox="1"/>
              <p:nvPr/>
            </p:nvSpPr>
            <p:spPr>
              <a:xfrm>
                <a:off x="2902822" y="3794232"/>
                <a:ext cx="1510032" cy="388589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marL="105750" algn="ctr">
                  <a:lnSpc>
                    <a:spcPct val="120000"/>
                  </a:lnSpc>
                </a:pPr>
                <a:r>
                  <a:rPr lang="zh-CN" altLang="en-US" sz="1100" b="1" dirty="0" smtClean="0">
                    <a:solidFill>
                      <a:srgbClr val="F25822"/>
                    </a:solidFill>
                    <a:latin typeface="楷体" panose="02010609060101010101" pitchFamily="49" charset="-122"/>
                    <a:ea typeface="楷体" panose="02010609060101010101" pitchFamily="49" charset="-122"/>
                  </a:rPr>
                  <a:t>网银卡集中箱</a:t>
                </a:r>
              </a:p>
            </p:txBody>
          </p:sp>
          <p:grpSp>
            <p:nvGrpSpPr>
              <p:cNvPr id="20" name="组合 19"/>
              <p:cNvGrpSpPr/>
              <p:nvPr/>
            </p:nvGrpSpPr>
            <p:grpSpPr>
              <a:xfrm rot="16200000">
                <a:off x="1937505" y="4102051"/>
                <a:ext cx="951688" cy="994647"/>
                <a:chOff x="1342620" y="4549871"/>
                <a:chExt cx="951688" cy="994647"/>
              </a:xfrm>
            </p:grpSpPr>
            <p:cxnSp>
              <p:nvCxnSpPr>
                <p:cNvPr id="45" name="直接箭头连接符 44"/>
                <p:cNvCxnSpPr/>
                <p:nvPr/>
              </p:nvCxnSpPr>
              <p:spPr>
                <a:xfrm flipV="1">
                  <a:off x="1342620" y="4554072"/>
                  <a:ext cx="390955" cy="989685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直接箭头连接符 45"/>
                <p:cNvCxnSpPr/>
                <p:nvPr/>
              </p:nvCxnSpPr>
              <p:spPr>
                <a:xfrm flipH="1" flipV="1">
                  <a:off x="1733383" y="4557597"/>
                  <a:ext cx="560925" cy="986158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直接箭头连接符 46"/>
                <p:cNvCxnSpPr/>
                <p:nvPr/>
              </p:nvCxnSpPr>
              <p:spPr>
                <a:xfrm flipV="1">
                  <a:off x="1547285" y="4549871"/>
                  <a:ext cx="186098" cy="716533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直接箭头连接符 47"/>
                <p:cNvCxnSpPr/>
                <p:nvPr/>
              </p:nvCxnSpPr>
              <p:spPr>
                <a:xfrm flipH="1" flipV="1">
                  <a:off x="1733575" y="4554072"/>
                  <a:ext cx="239014" cy="712335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接箭头连接符 56"/>
                <p:cNvCxnSpPr/>
                <p:nvPr/>
              </p:nvCxnSpPr>
              <p:spPr>
                <a:xfrm flipV="1">
                  <a:off x="1721353" y="4554072"/>
                  <a:ext cx="12222" cy="990446"/>
                </a:xfrm>
                <a:prstGeom prst="straightConnector1">
                  <a:avLst/>
                </a:prstGeom>
                <a:ln>
                  <a:solidFill>
                    <a:schemeClr val="bg1">
                      <a:lumMod val="75000"/>
                    </a:schemeClr>
                  </a:solidFill>
                  <a:prstDash val="dash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" name="组合 20"/>
              <p:cNvGrpSpPr/>
              <p:nvPr/>
            </p:nvGrpSpPr>
            <p:grpSpPr>
              <a:xfrm>
                <a:off x="920749" y="3785831"/>
                <a:ext cx="1975512" cy="1261325"/>
                <a:chOff x="2517515" y="3075650"/>
                <a:chExt cx="2642381" cy="1465842"/>
              </a:xfrm>
            </p:grpSpPr>
            <p:grpSp>
              <p:nvGrpSpPr>
                <p:cNvPr id="28" name="组合 27"/>
                <p:cNvGrpSpPr/>
                <p:nvPr/>
              </p:nvGrpSpPr>
              <p:grpSpPr>
                <a:xfrm>
                  <a:off x="2870564" y="3619252"/>
                  <a:ext cx="1799791" cy="581380"/>
                  <a:chOff x="837293" y="1828800"/>
                  <a:chExt cx="1969450" cy="760008"/>
                </a:xfrm>
                <a:solidFill>
                  <a:srgbClr val="44546A">
                    <a:alpha val="18000"/>
                  </a:srgbClr>
                </a:solidFill>
              </p:grpSpPr>
              <p:sp>
                <p:nvSpPr>
                  <p:cNvPr id="37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1357993" y="18288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38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837293" y="18288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39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1878693" y="18288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40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2399393" y="18288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41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1357993" y="22860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42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837293" y="22860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43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1878693" y="22860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  <p:sp>
                <p:nvSpPr>
                  <p:cNvPr id="44" name="laptop_32115"/>
                  <p:cNvSpPr>
                    <a:spLocks noChangeAspect="1"/>
                  </p:cNvSpPr>
                  <p:nvPr/>
                </p:nvSpPr>
                <p:spPr bwMode="auto">
                  <a:xfrm>
                    <a:off x="2399393" y="2286000"/>
                    <a:ext cx="407350" cy="302808"/>
                  </a:xfrm>
                  <a:custGeom>
                    <a:avLst/>
                    <a:gdLst>
                      <a:gd name="T0" fmla="*/ 6776 w 7355"/>
                      <a:gd name="T1" fmla="*/ 0 h 5476"/>
                      <a:gd name="T2" fmla="*/ 393 w 7355"/>
                      <a:gd name="T3" fmla="*/ 0 h 5476"/>
                      <a:gd name="T4" fmla="*/ 393 w 7355"/>
                      <a:gd name="T5" fmla="*/ 4320 h 5476"/>
                      <a:gd name="T6" fmla="*/ 6776 w 7355"/>
                      <a:gd name="T7" fmla="*/ 4320 h 5476"/>
                      <a:gd name="T8" fmla="*/ 6776 w 7355"/>
                      <a:gd name="T9" fmla="*/ 0 h 5476"/>
                      <a:gd name="T10" fmla="*/ 6776 w 7355"/>
                      <a:gd name="T11" fmla="*/ 0 h 5476"/>
                      <a:gd name="T12" fmla="*/ 6360 w 7355"/>
                      <a:gd name="T13" fmla="*/ 3904 h 5476"/>
                      <a:gd name="T14" fmla="*/ 809 w 7355"/>
                      <a:gd name="T15" fmla="*/ 3904 h 5476"/>
                      <a:gd name="T16" fmla="*/ 809 w 7355"/>
                      <a:gd name="T17" fmla="*/ 416 h 5476"/>
                      <a:gd name="T18" fmla="*/ 6360 w 7355"/>
                      <a:gd name="T19" fmla="*/ 416 h 5476"/>
                      <a:gd name="T20" fmla="*/ 6360 w 7355"/>
                      <a:gd name="T21" fmla="*/ 3904 h 5476"/>
                      <a:gd name="T22" fmla="*/ 0 w 7355"/>
                      <a:gd name="T23" fmla="*/ 4556 h 5476"/>
                      <a:gd name="T24" fmla="*/ 0 w 7355"/>
                      <a:gd name="T25" fmla="*/ 5134 h 5476"/>
                      <a:gd name="T26" fmla="*/ 7355 w 7355"/>
                      <a:gd name="T27" fmla="*/ 5134 h 5476"/>
                      <a:gd name="T28" fmla="*/ 7355 w 7355"/>
                      <a:gd name="T29" fmla="*/ 4556 h 5476"/>
                      <a:gd name="T30" fmla="*/ 0 w 7355"/>
                      <a:gd name="T31" fmla="*/ 4556 h 5476"/>
                      <a:gd name="T32" fmla="*/ 4504 w 7355"/>
                      <a:gd name="T33" fmla="*/ 4839 h 5476"/>
                      <a:gd name="T34" fmla="*/ 3012 w 7355"/>
                      <a:gd name="T35" fmla="*/ 4839 h 5476"/>
                      <a:gd name="T36" fmla="*/ 3012 w 7355"/>
                      <a:gd name="T37" fmla="*/ 4666 h 5476"/>
                      <a:gd name="T38" fmla="*/ 4504 w 7355"/>
                      <a:gd name="T39" fmla="*/ 4666 h 5476"/>
                      <a:gd name="T40" fmla="*/ 4504 w 7355"/>
                      <a:gd name="T41" fmla="*/ 4839 h 5476"/>
                      <a:gd name="T42" fmla="*/ 6013 w 7355"/>
                      <a:gd name="T43" fmla="*/ 5030 h 5476"/>
                      <a:gd name="T44" fmla="*/ 5874 w 7355"/>
                      <a:gd name="T45" fmla="*/ 4891 h 5476"/>
                      <a:gd name="T46" fmla="*/ 6013 w 7355"/>
                      <a:gd name="T47" fmla="*/ 4752 h 5476"/>
                      <a:gd name="T48" fmla="*/ 6152 w 7355"/>
                      <a:gd name="T49" fmla="*/ 4891 h 5476"/>
                      <a:gd name="T50" fmla="*/ 6013 w 7355"/>
                      <a:gd name="T51" fmla="*/ 5030 h 5476"/>
                      <a:gd name="T52" fmla="*/ 6614 w 7355"/>
                      <a:gd name="T53" fmla="*/ 5030 h 5476"/>
                      <a:gd name="T54" fmla="*/ 6476 w 7355"/>
                      <a:gd name="T55" fmla="*/ 4891 h 5476"/>
                      <a:gd name="T56" fmla="*/ 6614 w 7355"/>
                      <a:gd name="T57" fmla="*/ 4752 h 5476"/>
                      <a:gd name="T58" fmla="*/ 6753 w 7355"/>
                      <a:gd name="T59" fmla="*/ 4891 h 5476"/>
                      <a:gd name="T60" fmla="*/ 6614 w 7355"/>
                      <a:gd name="T61" fmla="*/ 5030 h 54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7355" h="5476">
                        <a:moveTo>
                          <a:pt x="6776" y="0"/>
                        </a:moveTo>
                        <a:lnTo>
                          <a:pt x="393" y="0"/>
                        </a:lnTo>
                        <a:lnTo>
                          <a:pt x="393" y="4320"/>
                        </a:lnTo>
                        <a:lnTo>
                          <a:pt x="6776" y="4320"/>
                        </a:lnTo>
                        <a:lnTo>
                          <a:pt x="6776" y="0"/>
                        </a:lnTo>
                        <a:lnTo>
                          <a:pt x="6776" y="0"/>
                        </a:lnTo>
                        <a:close/>
                        <a:moveTo>
                          <a:pt x="6360" y="3904"/>
                        </a:moveTo>
                        <a:lnTo>
                          <a:pt x="809" y="3904"/>
                        </a:lnTo>
                        <a:lnTo>
                          <a:pt x="809" y="416"/>
                        </a:lnTo>
                        <a:lnTo>
                          <a:pt x="6360" y="416"/>
                        </a:lnTo>
                        <a:lnTo>
                          <a:pt x="6360" y="3904"/>
                        </a:lnTo>
                        <a:close/>
                        <a:moveTo>
                          <a:pt x="0" y="4556"/>
                        </a:moveTo>
                        <a:lnTo>
                          <a:pt x="0" y="5134"/>
                        </a:lnTo>
                        <a:cubicBezTo>
                          <a:pt x="1035" y="5476"/>
                          <a:pt x="7106" y="5290"/>
                          <a:pt x="7355" y="5134"/>
                        </a:cubicBezTo>
                        <a:lnTo>
                          <a:pt x="7355" y="4556"/>
                        </a:lnTo>
                        <a:lnTo>
                          <a:pt x="0" y="4556"/>
                        </a:lnTo>
                        <a:close/>
                        <a:moveTo>
                          <a:pt x="4504" y="4839"/>
                        </a:moveTo>
                        <a:lnTo>
                          <a:pt x="3012" y="4839"/>
                        </a:lnTo>
                        <a:lnTo>
                          <a:pt x="3012" y="4666"/>
                        </a:lnTo>
                        <a:lnTo>
                          <a:pt x="4504" y="4666"/>
                        </a:lnTo>
                        <a:lnTo>
                          <a:pt x="4504" y="4839"/>
                        </a:lnTo>
                        <a:close/>
                        <a:moveTo>
                          <a:pt x="6013" y="5030"/>
                        </a:moveTo>
                        <a:cubicBezTo>
                          <a:pt x="5936" y="5030"/>
                          <a:pt x="5874" y="4968"/>
                          <a:pt x="5874" y="4891"/>
                        </a:cubicBezTo>
                        <a:cubicBezTo>
                          <a:pt x="5874" y="4815"/>
                          <a:pt x="5936" y="4752"/>
                          <a:pt x="6013" y="4752"/>
                        </a:cubicBezTo>
                        <a:cubicBezTo>
                          <a:pt x="6090" y="4752"/>
                          <a:pt x="6152" y="4815"/>
                          <a:pt x="6152" y="4891"/>
                        </a:cubicBezTo>
                        <a:cubicBezTo>
                          <a:pt x="6152" y="4968"/>
                          <a:pt x="6090" y="5030"/>
                          <a:pt x="6013" y="5030"/>
                        </a:cubicBezTo>
                        <a:close/>
                        <a:moveTo>
                          <a:pt x="6614" y="5030"/>
                        </a:moveTo>
                        <a:cubicBezTo>
                          <a:pt x="6538" y="5030"/>
                          <a:pt x="6476" y="4968"/>
                          <a:pt x="6476" y="4891"/>
                        </a:cubicBezTo>
                        <a:cubicBezTo>
                          <a:pt x="6476" y="4815"/>
                          <a:pt x="6538" y="4752"/>
                          <a:pt x="6614" y="4752"/>
                        </a:cubicBezTo>
                        <a:cubicBezTo>
                          <a:pt x="6691" y="4752"/>
                          <a:pt x="6753" y="4815"/>
                          <a:pt x="6753" y="4891"/>
                        </a:cubicBezTo>
                        <a:cubicBezTo>
                          <a:pt x="6753" y="4968"/>
                          <a:pt x="6691" y="5030"/>
                          <a:pt x="6614" y="50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</p:sp>
            </p:grpSp>
            <p:sp>
              <p:nvSpPr>
                <p:cNvPr id="29" name="classroom-pc_73575"/>
                <p:cNvSpPr>
                  <a:spLocks noChangeAspect="1"/>
                </p:cNvSpPr>
                <p:nvPr/>
              </p:nvSpPr>
              <p:spPr bwMode="auto">
                <a:xfrm>
                  <a:off x="3415623" y="3732114"/>
                  <a:ext cx="708654" cy="450605"/>
                </a:xfrm>
                <a:custGeom>
                  <a:avLst/>
                  <a:gdLst>
                    <a:gd name="T0" fmla="*/ 2664 w 2711"/>
                    <a:gd name="T1" fmla="*/ 1581 h 2062"/>
                    <a:gd name="T2" fmla="*/ 909 w 2711"/>
                    <a:gd name="T3" fmla="*/ 1581 h 2062"/>
                    <a:gd name="T4" fmla="*/ 861 w 2711"/>
                    <a:gd name="T5" fmla="*/ 1534 h 2062"/>
                    <a:gd name="T6" fmla="*/ 861 w 2711"/>
                    <a:gd name="T7" fmla="*/ 434 h 2062"/>
                    <a:gd name="T8" fmla="*/ 909 w 2711"/>
                    <a:gd name="T9" fmla="*/ 386 h 2062"/>
                    <a:gd name="T10" fmla="*/ 2664 w 2711"/>
                    <a:gd name="T11" fmla="*/ 386 h 2062"/>
                    <a:gd name="T12" fmla="*/ 2711 w 2711"/>
                    <a:gd name="T13" fmla="*/ 434 h 2062"/>
                    <a:gd name="T14" fmla="*/ 2711 w 2711"/>
                    <a:gd name="T15" fmla="*/ 1534 h 2062"/>
                    <a:gd name="T16" fmla="*/ 2664 w 2711"/>
                    <a:gd name="T17" fmla="*/ 1581 h 2062"/>
                    <a:gd name="T18" fmla="*/ 2177 w 2711"/>
                    <a:gd name="T19" fmla="*/ 1928 h 2062"/>
                    <a:gd name="T20" fmla="*/ 2000 w 2711"/>
                    <a:gd name="T21" fmla="*/ 1928 h 2062"/>
                    <a:gd name="T22" fmla="*/ 2000 w 2711"/>
                    <a:gd name="T23" fmla="*/ 1715 h 2062"/>
                    <a:gd name="T24" fmla="*/ 1573 w 2711"/>
                    <a:gd name="T25" fmla="*/ 1715 h 2062"/>
                    <a:gd name="T26" fmla="*/ 1573 w 2711"/>
                    <a:gd name="T27" fmla="*/ 1928 h 2062"/>
                    <a:gd name="T28" fmla="*/ 1395 w 2711"/>
                    <a:gd name="T29" fmla="*/ 1928 h 2062"/>
                    <a:gd name="T30" fmla="*/ 1329 w 2711"/>
                    <a:gd name="T31" fmla="*/ 1995 h 2062"/>
                    <a:gd name="T32" fmla="*/ 1395 w 2711"/>
                    <a:gd name="T33" fmla="*/ 2062 h 2062"/>
                    <a:gd name="T34" fmla="*/ 1640 w 2711"/>
                    <a:gd name="T35" fmla="*/ 2062 h 2062"/>
                    <a:gd name="T36" fmla="*/ 1933 w 2711"/>
                    <a:gd name="T37" fmla="*/ 2062 h 2062"/>
                    <a:gd name="T38" fmla="*/ 2177 w 2711"/>
                    <a:gd name="T39" fmla="*/ 2062 h 2062"/>
                    <a:gd name="T40" fmla="*/ 2244 w 2711"/>
                    <a:gd name="T41" fmla="*/ 1995 h 2062"/>
                    <a:gd name="T42" fmla="*/ 2177 w 2711"/>
                    <a:gd name="T43" fmla="*/ 1928 h 2062"/>
                    <a:gd name="T44" fmla="*/ 1065 w 2711"/>
                    <a:gd name="T45" fmla="*/ 253 h 2062"/>
                    <a:gd name="T46" fmla="*/ 909 w 2711"/>
                    <a:gd name="T47" fmla="*/ 253 h 2062"/>
                    <a:gd name="T48" fmla="*/ 880 w 2711"/>
                    <a:gd name="T49" fmla="*/ 255 h 2062"/>
                    <a:gd name="T50" fmla="*/ 863 w 2711"/>
                    <a:gd name="T51" fmla="*/ 253 h 2062"/>
                    <a:gd name="T52" fmla="*/ 201 w 2711"/>
                    <a:gd name="T53" fmla="*/ 253 h 2062"/>
                    <a:gd name="T54" fmla="*/ 135 w 2711"/>
                    <a:gd name="T55" fmla="*/ 320 h 2062"/>
                    <a:gd name="T56" fmla="*/ 201 w 2711"/>
                    <a:gd name="T57" fmla="*/ 386 h 2062"/>
                    <a:gd name="T58" fmla="*/ 735 w 2711"/>
                    <a:gd name="T59" fmla="*/ 386 h 2062"/>
                    <a:gd name="T60" fmla="*/ 728 w 2711"/>
                    <a:gd name="T61" fmla="*/ 434 h 2062"/>
                    <a:gd name="T62" fmla="*/ 728 w 2711"/>
                    <a:gd name="T63" fmla="*/ 558 h 2062"/>
                    <a:gd name="T64" fmla="*/ 201 w 2711"/>
                    <a:gd name="T65" fmla="*/ 558 h 2062"/>
                    <a:gd name="T66" fmla="*/ 135 w 2711"/>
                    <a:gd name="T67" fmla="*/ 624 h 2062"/>
                    <a:gd name="T68" fmla="*/ 201 w 2711"/>
                    <a:gd name="T69" fmla="*/ 691 h 2062"/>
                    <a:gd name="T70" fmla="*/ 728 w 2711"/>
                    <a:gd name="T71" fmla="*/ 691 h 2062"/>
                    <a:gd name="T72" fmla="*/ 728 w 2711"/>
                    <a:gd name="T73" fmla="*/ 863 h 2062"/>
                    <a:gd name="T74" fmla="*/ 201 w 2711"/>
                    <a:gd name="T75" fmla="*/ 863 h 2062"/>
                    <a:gd name="T76" fmla="*/ 135 w 2711"/>
                    <a:gd name="T77" fmla="*/ 929 h 2062"/>
                    <a:gd name="T78" fmla="*/ 201 w 2711"/>
                    <a:gd name="T79" fmla="*/ 996 h 2062"/>
                    <a:gd name="T80" fmla="*/ 728 w 2711"/>
                    <a:gd name="T81" fmla="*/ 996 h 2062"/>
                    <a:gd name="T82" fmla="*/ 728 w 2711"/>
                    <a:gd name="T83" fmla="*/ 1534 h 2062"/>
                    <a:gd name="T84" fmla="*/ 909 w 2711"/>
                    <a:gd name="T85" fmla="*/ 1715 h 2062"/>
                    <a:gd name="T86" fmla="*/ 1065 w 2711"/>
                    <a:gd name="T87" fmla="*/ 1715 h 2062"/>
                    <a:gd name="T88" fmla="*/ 1065 w 2711"/>
                    <a:gd name="T89" fmla="*/ 1995 h 2062"/>
                    <a:gd name="T90" fmla="*/ 998 w 2711"/>
                    <a:gd name="T91" fmla="*/ 2062 h 2062"/>
                    <a:gd name="T92" fmla="*/ 67 w 2711"/>
                    <a:gd name="T93" fmla="*/ 2062 h 2062"/>
                    <a:gd name="T94" fmla="*/ 0 w 2711"/>
                    <a:gd name="T95" fmla="*/ 1995 h 2062"/>
                    <a:gd name="T96" fmla="*/ 0 w 2711"/>
                    <a:gd name="T97" fmla="*/ 66 h 2062"/>
                    <a:gd name="T98" fmla="*/ 67 w 2711"/>
                    <a:gd name="T99" fmla="*/ 0 h 2062"/>
                    <a:gd name="T100" fmla="*/ 998 w 2711"/>
                    <a:gd name="T101" fmla="*/ 0 h 2062"/>
                    <a:gd name="T102" fmla="*/ 1065 w 2711"/>
                    <a:gd name="T103" fmla="*/ 66 h 2062"/>
                    <a:gd name="T104" fmla="*/ 1065 w 2711"/>
                    <a:gd name="T105" fmla="*/ 253 h 2062"/>
                    <a:gd name="T106" fmla="*/ 430 w 2711"/>
                    <a:gd name="T107" fmla="*/ 1569 h 2062"/>
                    <a:gd name="T108" fmla="*/ 532 w 2711"/>
                    <a:gd name="T109" fmla="*/ 1672 h 2062"/>
                    <a:gd name="T110" fmla="*/ 635 w 2711"/>
                    <a:gd name="T111" fmla="*/ 1569 h 2062"/>
                    <a:gd name="T112" fmla="*/ 532 w 2711"/>
                    <a:gd name="T113" fmla="*/ 1466 h 2062"/>
                    <a:gd name="T114" fmla="*/ 430 w 2711"/>
                    <a:gd name="T115" fmla="*/ 1569 h 20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711" h="2062">
                      <a:moveTo>
                        <a:pt x="2664" y="1581"/>
                      </a:moveTo>
                      <a:lnTo>
                        <a:pt x="909" y="1581"/>
                      </a:lnTo>
                      <a:cubicBezTo>
                        <a:pt x="883" y="1581"/>
                        <a:pt x="861" y="1560"/>
                        <a:pt x="861" y="1534"/>
                      </a:cubicBezTo>
                      <a:lnTo>
                        <a:pt x="861" y="434"/>
                      </a:lnTo>
                      <a:cubicBezTo>
                        <a:pt x="861" y="407"/>
                        <a:pt x="883" y="386"/>
                        <a:pt x="909" y="386"/>
                      </a:cubicBezTo>
                      <a:lnTo>
                        <a:pt x="2664" y="386"/>
                      </a:lnTo>
                      <a:cubicBezTo>
                        <a:pt x="2690" y="386"/>
                        <a:pt x="2711" y="408"/>
                        <a:pt x="2711" y="434"/>
                      </a:cubicBezTo>
                      <a:lnTo>
                        <a:pt x="2711" y="1534"/>
                      </a:lnTo>
                      <a:cubicBezTo>
                        <a:pt x="2711" y="1560"/>
                        <a:pt x="2690" y="1581"/>
                        <a:pt x="2664" y="1581"/>
                      </a:cubicBezTo>
                      <a:close/>
                      <a:moveTo>
                        <a:pt x="2177" y="1928"/>
                      </a:moveTo>
                      <a:lnTo>
                        <a:pt x="2000" y="1928"/>
                      </a:lnTo>
                      <a:lnTo>
                        <a:pt x="2000" y="1715"/>
                      </a:lnTo>
                      <a:lnTo>
                        <a:pt x="1573" y="1715"/>
                      </a:lnTo>
                      <a:lnTo>
                        <a:pt x="1573" y="1928"/>
                      </a:lnTo>
                      <a:lnTo>
                        <a:pt x="1395" y="1928"/>
                      </a:lnTo>
                      <a:cubicBezTo>
                        <a:pt x="1358" y="1928"/>
                        <a:pt x="1329" y="1958"/>
                        <a:pt x="1329" y="1995"/>
                      </a:cubicBezTo>
                      <a:cubicBezTo>
                        <a:pt x="1329" y="2032"/>
                        <a:pt x="1358" y="2062"/>
                        <a:pt x="1395" y="2062"/>
                      </a:cubicBezTo>
                      <a:lnTo>
                        <a:pt x="1640" y="2062"/>
                      </a:lnTo>
                      <a:lnTo>
                        <a:pt x="1933" y="2062"/>
                      </a:lnTo>
                      <a:lnTo>
                        <a:pt x="2177" y="2062"/>
                      </a:lnTo>
                      <a:cubicBezTo>
                        <a:pt x="2214" y="2062"/>
                        <a:pt x="2244" y="2032"/>
                        <a:pt x="2244" y="1995"/>
                      </a:cubicBezTo>
                      <a:cubicBezTo>
                        <a:pt x="2244" y="1958"/>
                        <a:pt x="2214" y="1928"/>
                        <a:pt x="2177" y="1928"/>
                      </a:cubicBezTo>
                      <a:close/>
                      <a:moveTo>
                        <a:pt x="1065" y="253"/>
                      </a:moveTo>
                      <a:lnTo>
                        <a:pt x="909" y="253"/>
                      </a:lnTo>
                      <a:cubicBezTo>
                        <a:pt x="899" y="253"/>
                        <a:pt x="890" y="254"/>
                        <a:pt x="880" y="255"/>
                      </a:cubicBezTo>
                      <a:cubicBezTo>
                        <a:pt x="875" y="254"/>
                        <a:pt x="869" y="253"/>
                        <a:pt x="863" y="253"/>
                      </a:cubicBezTo>
                      <a:lnTo>
                        <a:pt x="201" y="253"/>
                      </a:lnTo>
                      <a:cubicBezTo>
                        <a:pt x="164" y="253"/>
                        <a:pt x="135" y="283"/>
                        <a:pt x="135" y="320"/>
                      </a:cubicBezTo>
                      <a:cubicBezTo>
                        <a:pt x="135" y="356"/>
                        <a:pt x="164" y="386"/>
                        <a:pt x="201" y="386"/>
                      </a:cubicBezTo>
                      <a:lnTo>
                        <a:pt x="735" y="386"/>
                      </a:lnTo>
                      <a:cubicBezTo>
                        <a:pt x="730" y="401"/>
                        <a:pt x="728" y="417"/>
                        <a:pt x="728" y="434"/>
                      </a:cubicBezTo>
                      <a:lnTo>
                        <a:pt x="728" y="558"/>
                      </a:lnTo>
                      <a:lnTo>
                        <a:pt x="201" y="558"/>
                      </a:lnTo>
                      <a:cubicBezTo>
                        <a:pt x="164" y="558"/>
                        <a:pt x="135" y="588"/>
                        <a:pt x="135" y="624"/>
                      </a:cubicBezTo>
                      <a:cubicBezTo>
                        <a:pt x="135" y="661"/>
                        <a:pt x="164" y="691"/>
                        <a:pt x="201" y="691"/>
                      </a:cubicBezTo>
                      <a:lnTo>
                        <a:pt x="728" y="691"/>
                      </a:lnTo>
                      <a:lnTo>
                        <a:pt x="728" y="863"/>
                      </a:lnTo>
                      <a:lnTo>
                        <a:pt x="201" y="863"/>
                      </a:lnTo>
                      <a:cubicBezTo>
                        <a:pt x="164" y="863"/>
                        <a:pt x="135" y="893"/>
                        <a:pt x="135" y="929"/>
                      </a:cubicBezTo>
                      <a:cubicBezTo>
                        <a:pt x="135" y="966"/>
                        <a:pt x="164" y="996"/>
                        <a:pt x="201" y="996"/>
                      </a:cubicBezTo>
                      <a:lnTo>
                        <a:pt x="728" y="996"/>
                      </a:lnTo>
                      <a:lnTo>
                        <a:pt x="728" y="1534"/>
                      </a:lnTo>
                      <a:cubicBezTo>
                        <a:pt x="728" y="1633"/>
                        <a:pt x="809" y="1715"/>
                        <a:pt x="909" y="1715"/>
                      </a:cubicBezTo>
                      <a:lnTo>
                        <a:pt x="1065" y="1715"/>
                      </a:lnTo>
                      <a:lnTo>
                        <a:pt x="1065" y="1995"/>
                      </a:lnTo>
                      <a:cubicBezTo>
                        <a:pt x="1065" y="2032"/>
                        <a:pt x="1035" y="2062"/>
                        <a:pt x="998" y="2062"/>
                      </a:cubicBezTo>
                      <a:lnTo>
                        <a:pt x="67" y="2062"/>
                      </a:lnTo>
                      <a:cubicBezTo>
                        <a:pt x="30" y="2062"/>
                        <a:pt x="0" y="2032"/>
                        <a:pt x="0" y="1995"/>
                      </a:cubicBezTo>
                      <a:lnTo>
                        <a:pt x="0" y="66"/>
                      </a:lnTo>
                      <a:cubicBezTo>
                        <a:pt x="0" y="29"/>
                        <a:pt x="30" y="0"/>
                        <a:pt x="67" y="0"/>
                      </a:cubicBezTo>
                      <a:lnTo>
                        <a:pt x="998" y="0"/>
                      </a:lnTo>
                      <a:cubicBezTo>
                        <a:pt x="1035" y="0"/>
                        <a:pt x="1065" y="29"/>
                        <a:pt x="1065" y="66"/>
                      </a:cubicBezTo>
                      <a:lnTo>
                        <a:pt x="1065" y="253"/>
                      </a:lnTo>
                      <a:close/>
                      <a:moveTo>
                        <a:pt x="430" y="1569"/>
                      </a:moveTo>
                      <a:cubicBezTo>
                        <a:pt x="430" y="1626"/>
                        <a:pt x="476" y="1672"/>
                        <a:pt x="532" y="1672"/>
                      </a:cubicBezTo>
                      <a:cubicBezTo>
                        <a:pt x="589" y="1672"/>
                        <a:pt x="635" y="1626"/>
                        <a:pt x="635" y="1569"/>
                      </a:cubicBezTo>
                      <a:cubicBezTo>
                        <a:pt x="635" y="1512"/>
                        <a:pt x="589" y="1466"/>
                        <a:pt x="532" y="1466"/>
                      </a:cubicBezTo>
                      <a:cubicBezTo>
                        <a:pt x="476" y="1466"/>
                        <a:pt x="430" y="1512"/>
                        <a:pt x="430" y="1569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30" name="文本框 29"/>
                <p:cNvSpPr txBox="1"/>
                <p:nvPr/>
              </p:nvSpPr>
              <p:spPr>
                <a:xfrm>
                  <a:off x="2798757" y="4167609"/>
                  <a:ext cx="1799791" cy="330471"/>
                </a:xfrm>
                <a:prstGeom prst="rect">
                  <a:avLst/>
                </a:prstGeom>
              </p:spPr>
              <p:txBody>
                <a:bodyPr vert="horz" wrap="square" lIns="91440" tIns="45720" rIns="91440" bIns="45720" rtlCol="0">
                  <a:normAutofit/>
                </a:bodyPr>
                <a:lstStyle/>
                <a:p>
                  <a:pPr marL="105750" algn="ctr"/>
                  <a:r>
                    <a:rPr lang="zh-CN" altLang="en-US" sz="900" b="1" dirty="0" smtClean="0">
                      <a:solidFill>
                        <a:srgbClr val="F25822"/>
                      </a:solidFill>
                      <a:latin typeface="楷体" panose="02010609060101010101" pitchFamily="49" charset="-122"/>
                      <a:ea typeface="楷体" panose="02010609060101010101" pitchFamily="49" charset="-122"/>
                    </a:rPr>
                    <a:t>智能调度平台</a:t>
                  </a:r>
                </a:p>
              </p:txBody>
            </p:sp>
            <p:sp>
              <p:nvSpPr>
                <p:cNvPr id="31" name="man-working-on-a-laptop-from-side-view_49728"/>
                <p:cNvSpPr>
                  <a:spLocks noChangeAspect="1"/>
                </p:cNvSpPr>
                <p:nvPr/>
              </p:nvSpPr>
              <p:spPr bwMode="auto">
                <a:xfrm>
                  <a:off x="2517515" y="4177941"/>
                  <a:ext cx="483746" cy="327064"/>
                </a:xfrm>
                <a:custGeom>
                  <a:avLst/>
                  <a:gdLst>
                    <a:gd name="connsiteX0" fmla="*/ 199013 w 609377"/>
                    <a:gd name="connsiteY0" fmla="*/ 435742 h 492194"/>
                    <a:gd name="connsiteX1" fmla="*/ 414600 w 609377"/>
                    <a:gd name="connsiteY1" fmla="*/ 435742 h 492194"/>
                    <a:gd name="connsiteX2" fmla="*/ 518491 w 609377"/>
                    <a:gd name="connsiteY2" fmla="*/ 435742 h 492194"/>
                    <a:gd name="connsiteX3" fmla="*/ 572285 w 609377"/>
                    <a:gd name="connsiteY3" fmla="*/ 435742 h 492194"/>
                    <a:gd name="connsiteX4" fmla="*/ 572285 w 609377"/>
                    <a:gd name="connsiteY4" fmla="*/ 478222 h 492194"/>
                    <a:gd name="connsiteX5" fmla="*/ 518491 w 609377"/>
                    <a:gd name="connsiteY5" fmla="*/ 478222 h 492194"/>
                    <a:gd name="connsiteX6" fmla="*/ 414600 w 609377"/>
                    <a:gd name="connsiteY6" fmla="*/ 478222 h 492194"/>
                    <a:gd name="connsiteX7" fmla="*/ 199013 w 609377"/>
                    <a:gd name="connsiteY7" fmla="*/ 478222 h 492194"/>
                    <a:gd name="connsiteX8" fmla="*/ 182764 w 609377"/>
                    <a:gd name="connsiteY8" fmla="*/ 461956 h 492194"/>
                    <a:gd name="connsiteX9" fmla="*/ 182764 w 609377"/>
                    <a:gd name="connsiteY9" fmla="*/ 452008 h 492194"/>
                    <a:gd name="connsiteX10" fmla="*/ 199013 w 609377"/>
                    <a:gd name="connsiteY10" fmla="*/ 435742 h 492194"/>
                    <a:gd name="connsiteX11" fmla="*/ 598532 w 609377"/>
                    <a:gd name="connsiteY11" fmla="*/ 183306 h 492194"/>
                    <a:gd name="connsiteX12" fmla="*/ 608505 w 609377"/>
                    <a:gd name="connsiteY12" fmla="*/ 203745 h 492194"/>
                    <a:gd name="connsiteX13" fmla="*/ 536759 w 609377"/>
                    <a:gd name="connsiteY13" fmla="*/ 412878 h 492194"/>
                    <a:gd name="connsiteX14" fmla="*/ 534354 w 609377"/>
                    <a:gd name="connsiteY14" fmla="*/ 417329 h 492194"/>
                    <a:gd name="connsiteX15" fmla="*/ 521155 w 609377"/>
                    <a:gd name="connsiteY15" fmla="*/ 424240 h 492194"/>
                    <a:gd name="connsiteX16" fmla="*/ 265794 w 609377"/>
                    <a:gd name="connsiteY16" fmla="*/ 424240 h 492194"/>
                    <a:gd name="connsiteX17" fmla="*/ 249661 w 609377"/>
                    <a:gd name="connsiteY17" fmla="*/ 408193 h 492194"/>
                    <a:gd name="connsiteX18" fmla="*/ 265794 w 609377"/>
                    <a:gd name="connsiteY18" fmla="*/ 392147 h 492194"/>
                    <a:gd name="connsiteX19" fmla="*/ 509892 w 609377"/>
                    <a:gd name="connsiteY19" fmla="*/ 392147 h 492194"/>
                    <a:gd name="connsiteX20" fmla="*/ 578058 w 609377"/>
                    <a:gd name="connsiteY20" fmla="*/ 193320 h 492194"/>
                    <a:gd name="connsiteX21" fmla="*/ 598532 w 609377"/>
                    <a:gd name="connsiteY21" fmla="*/ 183306 h 492194"/>
                    <a:gd name="connsiteX22" fmla="*/ 81768 w 609377"/>
                    <a:gd name="connsiteY22" fmla="*/ 179942 h 492194"/>
                    <a:gd name="connsiteX23" fmla="*/ 81885 w 609377"/>
                    <a:gd name="connsiteY23" fmla="*/ 180118 h 492194"/>
                    <a:gd name="connsiteX24" fmla="*/ 86754 w 609377"/>
                    <a:gd name="connsiteY24" fmla="*/ 179942 h 492194"/>
                    <a:gd name="connsiteX25" fmla="*/ 173449 w 609377"/>
                    <a:gd name="connsiteY25" fmla="*/ 266555 h 492194"/>
                    <a:gd name="connsiteX26" fmla="*/ 173625 w 609377"/>
                    <a:gd name="connsiteY26" fmla="*/ 286583 h 492194"/>
                    <a:gd name="connsiteX27" fmla="*/ 173625 w 609377"/>
                    <a:gd name="connsiteY27" fmla="*/ 310476 h 492194"/>
                    <a:gd name="connsiteX28" fmla="*/ 178552 w 609377"/>
                    <a:gd name="connsiteY28" fmla="*/ 310476 h 492194"/>
                    <a:gd name="connsiteX29" fmla="*/ 384966 w 609377"/>
                    <a:gd name="connsiteY29" fmla="*/ 310594 h 492194"/>
                    <a:gd name="connsiteX30" fmla="*/ 420923 w 609377"/>
                    <a:gd name="connsiteY30" fmla="*/ 346492 h 492194"/>
                    <a:gd name="connsiteX31" fmla="*/ 384966 w 609377"/>
                    <a:gd name="connsiteY31" fmla="*/ 382390 h 492194"/>
                    <a:gd name="connsiteX32" fmla="*/ 179549 w 609377"/>
                    <a:gd name="connsiteY32" fmla="*/ 382390 h 492194"/>
                    <a:gd name="connsiteX33" fmla="*/ 171278 w 609377"/>
                    <a:gd name="connsiteY33" fmla="*/ 382273 h 492194"/>
                    <a:gd name="connsiteX34" fmla="*/ 148989 w 609377"/>
                    <a:gd name="connsiteY34" fmla="*/ 372084 h 492194"/>
                    <a:gd name="connsiteX35" fmla="*/ 78483 w 609377"/>
                    <a:gd name="connsiteY35" fmla="*/ 295250 h 492194"/>
                    <a:gd name="connsiteX36" fmla="*/ 69978 w 609377"/>
                    <a:gd name="connsiteY36" fmla="*/ 294899 h 492194"/>
                    <a:gd name="connsiteX37" fmla="*/ 69626 w 609377"/>
                    <a:gd name="connsiteY37" fmla="*/ 303390 h 492194"/>
                    <a:gd name="connsiteX38" fmla="*/ 140073 w 609377"/>
                    <a:gd name="connsiteY38" fmla="*/ 380165 h 492194"/>
                    <a:gd name="connsiteX39" fmla="*/ 171044 w 609377"/>
                    <a:gd name="connsiteY39" fmla="*/ 393751 h 492194"/>
                    <a:gd name="connsiteX40" fmla="*/ 171337 w 609377"/>
                    <a:gd name="connsiteY40" fmla="*/ 393751 h 492194"/>
                    <a:gd name="connsiteX41" fmla="*/ 173625 w 609377"/>
                    <a:gd name="connsiteY41" fmla="*/ 393927 h 492194"/>
                    <a:gd name="connsiteX42" fmla="*/ 173625 w 609377"/>
                    <a:gd name="connsiteY42" fmla="*/ 492194 h 492194"/>
                    <a:gd name="connsiteX43" fmla="*/ 0 w 609377"/>
                    <a:gd name="connsiteY43" fmla="*/ 492194 h 492194"/>
                    <a:gd name="connsiteX44" fmla="*/ 0 w 609377"/>
                    <a:gd name="connsiteY44" fmla="*/ 261577 h 492194"/>
                    <a:gd name="connsiteX45" fmla="*/ 81768 w 609377"/>
                    <a:gd name="connsiteY45" fmla="*/ 179942 h 492194"/>
                    <a:gd name="connsiteX46" fmla="*/ 165194 w 609377"/>
                    <a:gd name="connsiteY46" fmla="*/ 0 h 492194"/>
                    <a:gd name="connsiteX47" fmla="*/ 255306 w 609377"/>
                    <a:gd name="connsiteY47" fmla="*/ 89971 h 492194"/>
                    <a:gd name="connsiteX48" fmla="*/ 165194 w 609377"/>
                    <a:gd name="connsiteY48" fmla="*/ 179942 h 492194"/>
                    <a:gd name="connsiteX49" fmla="*/ 75082 w 609377"/>
                    <a:gd name="connsiteY49" fmla="*/ 89971 h 492194"/>
                    <a:gd name="connsiteX50" fmla="*/ 165194 w 609377"/>
                    <a:gd name="connsiteY50" fmla="*/ 0 h 492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609377" h="492194">
                      <a:moveTo>
                        <a:pt x="199013" y="435742"/>
                      </a:moveTo>
                      <a:lnTo>
                        <a:pt x="414600" y="435742"/>
                      </a:lnTo>
                      <a:lnTo>
                        <a:pt x="518491" y="435742"/>
                      </a:lnTo>
                      <a:lnTo>
                        <a:pt x="572285" y="435742"/>
                      </a:lnTo>
                      <a:lnTo>
                        <a:pt x="572285" y="478222"/>
                      </a:lnTo>
                      <a:lnTo>
                        <a:pt x="518491" y="478222"/>
                      </a:lnTo>
                      <a:lnTo>
                        <a:pt x="414600" y="478222"/>
                      </a:lnTo>
                      <a:lnTo>
                        <a:pt x="199013" y="478222"/>
                      </a:lnTo>
                      <a:cubicBezTo>
                        <a:pt x="190038" y="478222"/>
                        <a:pt x="182764" y="470966"/>
                        <a:pt x="182764" y="461956"/>
                      </a:cubicBezTo>
                      <a:lnTo>
                        <a:pt x="182764" y="452008"/>
                      </a:lnTo>
                      <a:cubicBezTo>
                        <a:pt x="182764" y="443056"/>
                        <a:pt x="190038" y="435742"/>
                        <a:pt x="199013" y="435742"/>
                      </a:cubicBezTo>
                      <a:close/>
                      <a:moveTo>
                        <a:pt x="598532" y="183306"/>
                      </a:moveTo>
                      <a:cubicBezTo>
                        <a:pt x="606921" y="186234"/>
                        <a:pt x="611379" y="195311"/>
                        <a:pt x="608505" y="203745"/>
                      </a:cubicBezTo>
                      <a:lnTo>
                        <a:pt x="536759" y="412878"/>
                      </a:lnTo>
                      <a:cubicBezTo>
                        <a:pt x="536173" y="414518"/>
                        <a:pt x="535352" y="416041"/>
                        <a:pt x="534354" y="417329"/>
                      </a:cubicBezTo>
                      <a:cubicBezTo>
                        <a:pt x="531480" y="421487"/>
                        <a:pt x="526611" y="424240"/>
                        <a:pt x="521155" y="424240"/>
                      </a:cubicBezTo>
                      <a:lnTo>
                        <a:pt x="265794" y="424240"/>
                      </a:lnTo>
                      <a:cubicBezTo>
                        <a:pt x="256877" y="424240"/>
                        <a:pt x="249661" y="417037"/>
                        <a:pt x="249661" y="408193"/>
                      </a:cubicBezTo>
                      <a:cubicBezTo>
                        <a:pt x="249661" y="399292"/>
                        <a:pt x="256877" y="392147"/>
                        <a:pt x="265794" y="392147"/>
                      </a:cubicBezTo>
                      <a:lnTo>
                        <a:pt x="509892" y="392147"/>
                      </a:lnTo>
                      <a:lnTo>
                        <a:pt x="578058" y="193320"/>
                      </a:lnTo>
                      <a:cubicBezTo>
                        <a:pt x="580933" y="184945"/>
                        <a:pt x="590084" y="180436"/>
                        <a:pt x="598532" y="183306"/>
                      </a:cubicBezTo>
                      <a:close/>
                      <a:moveTo>
                        <a:pt x="81768" y="179942"/>
                      </a:moveTo>
                      <a:lnTo>
                        <a:pt x="81885" y="180118"/>
                      </a:lnTo>
                      <a:cubicBezTo>
                        <a:pt x="83527" y="180001"/>
                        <a:pt x="85111" y="179942"/>
                        <a:pt x="86754" y="179942"/>
                      </a:cubicBezTo>
                      <a:cubicBezTo>
                        <a:pt x="134618" y="179942"/>
                        <a:pt x="173449" y="218710"/>
                        <a:pt x="173449" y="266555"/>
                      </a:cubicBezTo>
                      <a:lnTo>
                        <a:pt x="173625" y="286583"/>
                      </a:lnTo>
                      <a:lnTo>
                        <a:pt x="173625" y="310476"/>
                      </a:lnTo>
                      <a:lnTo>
                        <a:pt x="178552" y="310476"/>
                      </a:lnTo>
                      <a:lnTo>
                        <a:pt x="384966" y="310594"/>
                      </a:lnTo>
                      <a:cubicBezTo>
                        <a:pt x="404793" y="310594"/>
                        <a:pt x="420923" y="326698"/>
                        <a:pt x="420923" y="346492"/>
                      </a:cubicBezTo>
                      <a:cubicBezTo>
                        <a:pt x="420923" y="366286"/>
                        <a:pt x="404793" y="382390"/>
                        <a:pt x="384966" y="382390"/>
                      </a:cubicBezTo>
                      <a:lnTo>
                        <a:pt x="179549" y="382390"/>
                      </a:lnTo>
                      <a:cubicBezTo>
                        <a:pt x="179549" y="382390"/>
                        <a:pt x="171865" y="382273"/>
                        <a:pt x="171278" y="382273"/>
                      </a:cubicBezTo>
                      <a:cubicBezTo>
                        <a:pt x="162773" y="382098"/>
                        <a:pt x="154678" y="378291"/>
                        <a:pt x="148989" y="372084"/>
                      </a:cubicBezTo>
                      <a:lnTo>
                        <a:pt x="78483" y="295250"/>
                      </a:lnTo>
                      <a:cubicBezTo>
                        <a:pt x="76254" y="292791"/>
                        <a:pt x="72441" y="292674"/>
                        <a:pt x="69978" y="294899"/>
                      </a:cubicBezTo>
                      <a:cubicBezTo>
                        <a:pt x="67514" y="297124"/>
                        <a:pt x="67397" y="300931"/>
                        <a:pt x="69626" y="303390"/>
                      </a:cubicBezTo>
                      <a:lnTo>
                        <a:pt x="140073" y="380165"/>
                      </a:lnTo>
                      <a:cubicBezTo>
                        <a:pt x="148050" y="388832"/>
                        <a:pt x="159312" y="393751"/>
                        <a:pt x="171044" y="393751"/>
                      </a:cubicBezTo>
                      <a:cubicBezTo>
                        <a:pt x="171161" y="393751"/>
                        <a:pt x="171161" y="393751"/>
                        <a:pt x="171337" y="393751"/>
                      </a:cubicBezTo>
                      <a:lnTo>
                        <a:pt x="173625" y="393927"/>
                      </a:lnTo>
                      <a:lnTo>
                        <a:pt x="173625" y="492194"/>
                      </a:lnTo>
                      <a:lnTo>
                        <a:pt x="0" y="492194"/>
                      </a:lnTo>
                      <a:lnTo>
                        <a:pt x="0" y="261577"/>
                      </a:lnTo>
                      <a:cubicBezTo>
                        <a:pt x="0" y="216485"/>
                        <a:pt x="36602" y="179942"/>
                        <a:pt x="81768" y="179942"/>
                      </a:cubicBezTo>
                      <a:close/>
                      <a:moveTo>
                        <a:pt x="165194" y="0"/>
                      </a:moveTo>
                      <a:cubicBezTo>
                        <a:pt x="214961" y="0"/>
                        <a:pt x="255306" y="40281"/>
                        <a:pt x="255306" y="89971"/>
                      </a:cubicBezTo>
                      <a:cubicBezTo>
                        <a:pt x="255306" y="139661"/>
                        <a:pt x="214961" y="179942"/>
                        <a:pt x="165194" y="179942"/>
                      </a:cubicBezTo>
                      <a:cubicBezTo>
                        <a:pt x="115427" y="179942"/>
                        <a:pt x="75082" y="139661"/>
                        <a:pt x="75082" y="89971"/>
                      </a:cubicBezTo>
                      <a:cubicBezTo>
                        <a:pt x="75082" y="40281"/>
                        <a:pt x="115427" y="0"/>
                        <a:pt x="16519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cxnSp>
              <p:nvCxnSpPr>
                <p:cNvPr id="32" name="直接箭头连接符 31"/>
                <p:cNvCxnSpPr/>
                <p:nvPr/>
              </p:nvCxnSpPr>
              <p:spPr>
                <a:xfrm flipH="1" flipV="1">
                  <a:off x="4274263" y="4023439"/>
                  <a:ext cx="339792" cy="224838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chemeClr val="tx1"/>
                  </a:solidFill>
                  <a:prstDash val="dash"/>
                  <a:miter lim="800000"/>
                  <a:tailEnd type="triangle"/>
                </a:ln>
                <a:effectLst/>
              </p:spPr>
            </p:cxnSp>
            <p:sp>
              <p:nvSpPr>
                <p:cNvPr id="33" name="man-working-on-a-laptop-from-side-view_49728"/>
                <p:cNvSpPr>
                  <a:spLocks noChangeAspect="1"/>
                </p:cNvSpPr>
                <p:nvPr/>
              </p:nvSpPr>
              <p:spPr bwMode="auto">
                <a:xfrm>
                  <a:off x="3493136" y="3075650"/>
                  <a:ext cx="483746" cy="327064"/>
                </a:xfrm>
                <a:custGeom>
                  <a:avLst/>
                  <a:gdLst>
                    <a:gd name="connsiteX0" fmla="*/ 199013 w 609377"/>
                    <a:gd name="connsiteY0" fmla="*/ 435742 h 492194"/>
                    <a:gd name="connsiteX1" fmla="*/ 414600 w 609377"/>
                    <a:gd name="connsiteY1" fmla="*/ 435742 h 492194"/>
                    <a:gd name="connsiteX2" fmla="*/ 518491 w 609377"/>
                    <a:gd name="connsiteY2" fmla="*/ 435742 h 492194"/>
                    <a:gd name="connsiteX3" fmla="*/ 572285 w 609377"/>
                    <a:gd name="connsiteY3" fmla="*/ 435742 h 492194"/>
                    <a:gd name="connsiteX4" fmla="*/ 572285 w 609377"/>
                    <a:gd name="connsiteY4" fmla="*/ 478222 h 492194"/>
                    <a:gd name="connsiteX5" fmla="*/ 518491 w 609377"/>
                    <a:gd name="connsiteY5" fmla="*/ 478222 h 492194"/>
                    <a:gd name="connsiteX6" fmla="*/ 414600 w 609377"/>
                    <a:gd name="connsiteY6" fmla="*/ 478222 h 492194"/>
                    <a:gd name="connsiteX7" fmla="*/ 199013 w 609377"/>
                    <a:gd name="connsiteY7" fmla="*/ 478222 h 492194"/>
                    <a:gd name="connsiteX8" fmla="*/ 182764 w 609377"/>
                    <a:gd name="connsiteY8" fmla="*/ 461956 h 492194"/>
                    <a:gd name="connsiteX9" fmla="*/ 182764 w 609377"/>
                    <a:gd name="connsiteY9" fmla="*/ 452008 h 492194"/>
                    <a:gd name="connsiteX10" fmla="*/ 199013 w 609377"/>
                    <a:gd name="connsiteY10" fmla="*/ 435742 h 492194"/>
                    <a:gd name="connsiteX11" fmla="*/ 598532 w 609377"/>
                    <a:gd name="connsiteY11" fmla="*/ 183306 h 492194"/>
                    <a:gd name="connsiteX12" fmla="*/ 608505 w 609377"/>
                    <a:gd name="connsiteY12" fmla="*/ 203745 h 492194"/>
                    <a:gd name="connsiteX13" fmla="*/ 536759 w 609377"/>
                    <a:gd name="connsiteY13" fmla="*/ 412878 h 492194"/>
                    <a:gd name="connsiteX14" fmla="*/ 534354 w 609377"/>
                    <a:gd name="connsiteY14" fmla="*/ 417329 h 492194"/>
                    <a:gd name="connsiteX15" fmla="*/ 521155 w 609377"/>
                    <a:gd name="connsiteY15" fmla="*/ 424240 h 492194"/>
                    <a:gd name="connsiteX16" fmla="*/ 265794 w 609377"/>
                    <a:gd name="connsiteY16" fmla="*/ 424240 h 492194"/>
                    <a:gd name="connsiteX17" fmla="*/ 249661 w 609377"/>
                    <a:gd name="connsiteY17" fmla="*/ 408193 h 492194"/>
                    <a:gd name="connsiteX18" fmla="*/ 265794 w 609377"/>
                    <a:gd name="connsiteY18" fmla="*/ 392147 h 492194"/>
                    <a:gd name="connsiteX19" fmla="*/ 509892 w 609377"/>
                    <a:gd name="connsiteY19" fmla="*/ 392147 h 492194"/>
                    <a:gd name="connsiteX20" fmla="*/ 578058 w 609377"/>
                    <a:gd name="connsiteY20" fmla="*/ 193320 h 492194"/>
                    <a:gd name="connsiteX21" fmla="*/ 598532 w 609377"/>
                    <a:gd name="connsiteY21" fmla="*/ 183306 h 492194"/>
                    <a:gd name="connsiteX22" fmla="*/ 81768 w 609377"/>
                    <a:gd name="connsiteY22" fmla="*/ 179942 h 492194"/>
                    <a:gd name="connsiteX23" fmla="*/ 81885 w 609377"/>
                    <a:gd name="connsiteY23" fmla="*/ 180118 h 492194"/>
                    <a:gd name="connsiteX24" fmla="*/ 86754 w 609377"/>
                    <a:gd name="connsiteY24" fmla="*/ 179942 h 492194"/>
                    <a:gd name="connsiteX25" fmla="*/ 173449 w 609377"/>
                    <a:gd name="connsiteY25" fmla="*/ 266555 h 492194"/>
                    <a:gd name="connsiteX26" fmla="*/ 173625 w 609377"/>
                    <a:gd name="connsiteY26" fmla="*/ 286583 h 492194"/>
                    <a:gd name="connsiteX27" fmla="*/ 173625 w 609377"/>
                    <a:gd name="connsiteY27" fmla="*/ 310476 h 492194"/>
                    <a:gd name="connsiteX28" fmla="*/ 178552 w 609377"/>
                    <a:gd name="connsiteY28" fmla="*/ 310476 h 492194"/>
                    <a:gd name="connsiteX29" fmla="*/ 384966 w 609377"/>
                    <a:gd name="connsiteY29" fmla="*/ 310594 h 492194"/>
                    <a:gd name="connsiteX30" fmla="*/ 420923 w 609377"/>
                    <a:gd name="connsiteY30" fmla="*/ 346492 h 492194"/>
                    <a:gd name="connsiteX31" fmla="*/ 384966 w 609377"/>
                    <a:gd name="connsiteY31" fmla="*/ 382390 h 492194"/>
                    <a:gd name="connsiteX32" fmla="*/ 179549 w 609377"/>
                    <a:gd name="connsiteY32" fmla="*/ 382390 h 492194"/>
                    <a:gd name="connsiteX33" fmla="*/ 171278 w 609377"/>
                    <a:gd name="connsiteY33" fmla="*/ 382273 h 492194"/>
                    <a:gd name="connsiteX34" fmla="*/ 148989 w 609377"/>
                    <a:gd name="connsiteY34" fmla="*/ 372084 h 492194"/>
                    <a:gd name="connsiteX35" fmla="*/ 78483 w 609377"/>
                    <a:gd name="connsiteY35" fmla="*/ 295250 h 492194"/>
                    <a:gd name="connsiteX36" fmla="*/ 69978 w 609377"/>
                    <a:gd name="connsiteY36" fmla="*/ 294899 h 492194"/>
                    <a:gd name="connsiteX37" fmla="*/ 69626 w 609377"/>
                    <a:gd name="connsiteY37" fmla="*/ 303390 h 492194"/>
                    <a:gd name="connsiteX38" fmla="*/ 140073 w 609377"/>
                    <a:gd name="connsiteY38" fmla="*/ 380165 h 492194"/>
                    <a:gd name="connsiteX39" fmla="*/ 171044 w 609377"/>
                    <a:gd name="connsiteY39" fmla="*/ 393751 h 492194"/>
                    <a:gd name="connsiteX40" fmla="*/ 171337 w 609377"/>
                    <a:gd name="connsiteY40" fmla="*/ 393751 h 492194"/>
                    <a:gd name="connsiteX41" fmla="*/ 173625 w 609377"/>
                    <a:gd name="connsiteY41" fmla="*/ 393927 h 492194"/>
                    <a:gd name="connsiteX42" fmla="*/ 173625 w 609377"/>
                    <a:gd name="connsiteY42" fmla="*/ 492194 h 492194"/>
                    <a:gd name="connsiteX43" fmla="*/ 0 w 609377"/>
                    <a:gd name="connsiteY43" fmla="*/ 492194 h 492194"/>
                    <a:gd name="connsiteX44" fmla="*/ 0 w 609377"/>
                    <a:gd name="connsiteY44" fmla="*/ 261577 h 492194"/>
                    <a:gd name="connsiteX45" fmla="*/ 81768 w 609377"/>
                    <a:gd name="connsiteY45" fmla="*/ 179942 h 492194"/>
                    <a:gd name="connsiteX46" fmla="*/ 165194 w 609377"/>
                    <a:gd name="connsiteY46" fmla="*/ 0 h 492194"/>
                    <a:gd name="connsiteX47" fmla="*/ 255306 w 609377"/>
                    <a:gd name="connsiteY47" fmla="*/ 89971 h 492194"/>
                    <a:gd name="connsiteX48" fmla="*/ 165194 w 609377"/>
                    <a:gd name="connsiteY48" fmla="*/ 179942 h 492194"/>
                    <a:gd name="connsiteX49" fmla="*/ 75082 w 609377"/>
                    <a:gd name="connsiteY49" fmla="*/ 89971 h 492194"/>
                    <a:gd name="connsiteX50" fmla="*/ 165194 w 609377"/>
                    <a:gd name="connsiteY50" fmla="*/ 0 h 492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609377" h="492194">
                      <a:moveTo>
                        <a:pt x="199013" y="435742"/>
                      </a:moveTo>
                      <a:lnTo>
                        <a:pt x="414600" y="435742"/>
                      </a:lnTo>
                      <a:lnTo>
                        <a:pt x="518491" y="435742"/>
                      </a:lnTo>
                      <a:lnTo>
                        <a:pt x="572285" y="435742"/>
                      </a:lnTo>
                      <a:lnTo>
                        <a:pt x="572285" y="478222"/>
                      </a:lnTo>
                      <a:lnTo>
                        <a:pt x="518491" y="478222"/>
                      </a:lnTo>
                      <a:lnTo>
                        <a:pt x="414600" y="478222"/>
                      </a:lnTo>
                      <a:lnTo>
                        <a:pt x="199013" y="478222"/>
                      </a:lnTo>
                      <a:cubicBezTo>
                        <a:pt x="190038" y="478222"/>
                        <a:pt x="182764" y="470966"/>
                        <a:pt x="182764" y="461956"/>
                      </a:cubicBezTo>
                      <a:lnTo>
                        <a:pt x="182764" y="452008"/>
                      </a:lnTo>
                      <a:cubicBezTo>
                        <a:pt x="182764" y="443056"/>
                        <a:pt x="190038" y="435742"/>
                        <a:pt x="199013" y="435742"/>
                      </a:cubicBezTo>
                      <a:close/>
                      <a:moveTo>
                        <a:pt x="598532" y="183306"/>
                      </a:moveTo>
                      <a:cubicBezTo>
                        <a:pt x="606921" y="186234"/>
                        <a:pt x="611379" y="195311"/>
                        <a:pt x="608505" y="203745"/>
                      </a:cubicBezTo>
                      <a:lnTo>
                        <a:pt x="536759" y="412878"/>
                      </a:lnTo>
                      <a:cubicBezTo>
                        <a:pt x="536173" y="414518"/>
                        <a:pt x="535352" y="416041"/>
                        <a:pt x="534354" y="417329"/>
                      </a:cubicBezTo>
                      <a:cubicBezTo>
                        <a:pt x="531480" y="421487"/>
                        <a:pt x="526611" y="424240"/>
                        <a:pt x="521155" y="424240"/>
                      </a:cubicBezTo>
                      <a:lnTo>
                        <a:pt x="265794" y="424240"/>
                      </a:lnTo>
                      <a:cubicBezTo>
                        <a:pt x="256877" y="424240"/>
                        <a:pt x="249661" y="417037"/>
                        <a:pt x="249661" y="408193"/>
                      </a:cubicBezTo>
                      <a:cubicBezTo>
                        <a:pt x="249661" y="399292"/>
                        <a:pt x="256877" y="392147"/>
                        <a:pt x="265794" y="392147"/>
                      </a:cubicBezTo>
                      <a:lnTo>
                        <a:pt x="509892" y="392147"/>
                      </a:lnTo>
                      <a:lnTo>
                        <a:pt x="578058" y="193320"/>
                      </a:lnTo>
                      <a:cubicBezTo>
                        <a:pt x="580933" y="184945"/>
                        <a:pt x="590084" y="180436"/>
                        <a:pt x="598532" y="183306"/>
                      </a:cubicBezTo>
                      <a:close/>
                      <a:moveTo>
                        <a:pt x="81768" y="179942"/>
                      </a:moveTo>
                      <a:lnTo>
                        <a:pt x="81885" y="180118"/>
                      </a:lnTo>
                      <a:cubicBezTo>
                        <a:pt x="83527" y="180001"/>
                        <a:pt x="85111" y="179942"/>
                        <a:pt x="86754" y="179942"/>
                      </a:cubicBezTo>
                      <a:cubicBezTo>
                        <a:pt x="134618" y="179942"/>
                        <a:pt x="173449" y="218710"/>
                        <a:pt x="173449" y="266555"/>
                      </a:cubicBezTo>
                      <a:lnTo>
                        <a:pt x="173625" y="286583"/>
                      </a:lnTo>
                      <a:lnTo>
                        <a:pt x="173625" y="310476"/>
                      </a:lnTo>
                      <a:lnTo>
                        <a:pt x="178552" y="310476"/>
                      </a:lnTo>
                      <a:lnTo>
                        <a:pt x="384966" y="310594"/>
                      </a:lnTo>
                      <a:cubicBezTo>
                        <a:pt x="404793" y="310594"/>
                        <a:pt x="420923" y="326698"/>
                        <a:pt x="420923" y="346492"/>
                      </a:cubicBezTo>
                      <a:cubicBezTo>
                        <a:pt x="420923" y="366286"/>
                        <a:pt x="404793" y="382390"/>
                        <a:pt x="384966" y="382390"/>
                      </a:cubicBezTo>
                      <a:lnTo>
                        <a:pt x="179549" y="382390"/>
                      </a:lnTo>
                      <a:cubicBezTo>
                        <a:pt x="179549" y="382390"/>
                        <a:pt x="171865" y="382273"/>
                        <a:pt x="171278" y="382273"/>
                      </a:cubicBezTo>
                      <a:cubicBezTo>
                        <a:pt x="162773" y="382098"/>
                        <a:pt x="154678" y="378291"/>
                        <a:pt x="148989" y="372084"/>
                      </a:cubicBezTo>
                      <a:lnTo>
                        <a:pt x="78483" y="295250"/>
                      </a:lnTo>
                      <a:cubicBezTo>
                        <a:pt x="76254" y="292791"/>
                        <a:pt x="72441" y="292674"/>
                        <a:pt x="69978" y="294899"/>
                      </a:cubicBezTo>
                      <a:cubicBezTo>
                        <a:pt x="67514" y="297124"/>
                        <a:pt x="67397" y="300931"/>
                        <a:pt x="69626" y="303390"/>
                      </a:cubicBezTo>
                      <a:lnTo>
                        <a:pt x="140073" y="380165"/>
                      </a:lnTo>
                      <a:cubicBezTo>
                        <a:pt x="148050" y="388832"/>
                        <a:pt x="159312" y="393751"/>
                        <a:pt x="171044" y="393751"/>
                      </a:cubicBezTo>
                      <a:cubicBezTo>
                        <a:pt x="171161" y="393751"/>
                        <a:pt x="171161" y="393751"/>
                        <a:pt x="171337" y="393751"/>
                      </a:cubicBezTo>
                      <a:lnTo>
                        <a:pt x="173625" y="393927"/>
                      </a:lnTo>
                      <a:lnTo>
                        <a:pt x="173625" y="492194"/>
                      </a:lnTo>
                      <a:lnTo>
                        <a:pt x="0" y="492194"/>
                      </a:lnTo>
                      <a:lnTo>
                        <a:pt x="0" y="261577"/>
                      </a:lnTo>
                      <a:cubicBezTo>
                        <a:pt x="0" y="216485"/>
                        <a:pt x="36602" y="179942"/>
                        <a:pt x="81768" y="179942"/>
                      </a:cubicBezTo>
                      <a:close/>
                      <a:moveTo>
                        <a:pt x="165194" y="0"/>
                      </a:moveTo>
                      <a:cubicBezTo>
                        <a:pt x="214961" y="0"/>
                        <a:pt x="255306" y="40281"/>
                        <a:pt x="255306" y="89971"/>
                      </a:cubicBezTo>
                      <a:cubicBezTo>
                        <a:pt x="255306" y="139661"/>
                        <a:pt x="214961" y="179942"/>
                        <a:pt x="165194" y="179942"/>
                      </a:cubicBezTo>
                      <a:cubicBezTo>
                        <a:pt x="115427" y="179942"/>
                        <a:pt x="75082" y="139661"/>
                        <a:pt x="75082" y="89971"/>
                      </a:cubicBezTo>
                      <a:cubicBezTo>
                        <a:pt x="75082" y="40281"/>
                        <a:pt x="115427" y="0"/>
                        <a:pt x="16519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sp>
              <p:nvSpPr>
                <p:cNvPr id="34" name="man-working-on-a-laptop-from-side-view_49728"/>
                <p:cNvSpPr>
                  <a:spLocks noChangeAspect="1"/>
                </p:cNvSpPr>
                <p:nvPr/>
              </p:nvSpPr>
              <p:spPr bwMode="auto">
                <a:xfrm>
                  <a:off x="4676150" y="4214428"/>
                  <a:ext cx="483746" cy="327064"/>
                </a:xfrm>
                <a:custGeom>
                  <a:avLst/>
                  <a:gdLst>
                    <a:gd name="connsiteX0" fmla="*/ 199013 w 609377"/>
                    <a:gd name="connsiteY0" fmla="*/ 435742 h 492194"/>
                    <a:gd name="connsiteX1" fmla="*/ 414600 w 609377"/>
                    <a:gd name="connsiteY1" fmla="*/ 435742 h 492194"/>
                    <a:gd name="connsiteX2" fmla="*/ 518491 w 609377"/>
                    <a:gd name="connsiteY2" fmla="*/ 435742 h 492194"/>
                    <a:gd name="connsiteX3" fmla="*/ 572285 w 609377"/>
                    <a:gd name="connsiteY3" fmla="*/ 435742 h 492194"/>
                    <a:gd name="connsiteX4" fmla="*/ 572285 w 609377"/>
                    <a:gd name="connsiteY4" fmla="*/ 478222 h 492194"/>
                    <a:gd name="connsiteX5" fmla="*/ 518491 w 609377"/>
                    <a:gd name="connsiteY5" fmla="*/ 478222 h 492194"/>
                    <a:gd name="connsiteX6" fmla="*/ 414600 w 609377"/>
                    <a:gd name="connsiteY6" fmla="*/ 478222 h 492194"/>
                    <a:gd name="connsiteX7" fmla="*/ 199013 w 609377"/>
                    <a:gd name="connsiteY7" fmla="*/ 478222 h 492194"/>
                    <a:gd name="connsiteX8" fmla="*/ 182764 w 609377"/>
                    <a:gd name="connsiteY8" fmla="*/ 461956 h 492194"/>
                    <a:gd name="connsiteX9" fmla="*/ 182764 w 609377"/>
                    <a:gd name="connsiteY9" fmla="*/ 452008 h 492194"/>
                    <a:gd name="connsiteX10" fmla="*/ 199013 w 609377"/>
                    <a:gd name="connsiteY10" fmla="*/ 435742 h 492194"/>
                    <a:gd name="connsiteX11" fmla="*/ 598532 w 609377"/>
                    <a:gd name="connsiteY11" fmla="*/ 183306 h 492194"/>
                    <a:gd name="connsiteX12" fmla="*/ 608505 w 609377"/>
                    <a:gd name="connsiteY12" fmla="*/ 203745 h 492194"/>
                    <a:gd name="connsiteX13" fmla="*/ 536759 w 609377"/>
                    <a:gd name="connsiteY13" fmla="*/ 412878 h 492194"/>
                    <a:gd name="connsiteX14" fmla="*/ 534354 w 609377"/>
                    <a:gd name="connsiteY14" fmla="*/ 417329 h 492194"/>
                    <a:gd name="connsiteX15" fmla="*/ 521155 w 609377"/>
                    <a:gd name="connsiteY15" fmla="*/ 424240 h 492194"/>
                    <a:gd name="connsiteX16" fmla="*/ 265794 w 609377"/>
                    <a:gd name="connsiteY16" fmla="*/ 424240 h 492194"/>
                    <a:gd name="connsiteX17" fmla="*/ 249661 w 609377"/>
                    <a:gd name="connsiteY17" fmla="*/ 408193 h 492194"/>
                    <a:gd name="connsiteX18" fmla="*/ 265794 w 609377"/>
                    <a:gd name="connsiteY18" fmla="*/ 392147 h 492194"/>
                    <a:gd name="connsiteX19" fmla="*/ 509892 w 609377"/>
                    <a:gd name="connsiteY19" fmla="*/ 392147 h 492194"/>
                    <a:gd name="connsiteX20" fmla="*/ 578058 w 609377"/>
                    <a:gd name="connsiteY20" fmla="*/ 193320 h 492194"/>
                    <a:gd name="connsiteX21" fmla="*/ 598532 w 609377"/>
                    <a:gd name="connsiteY21" fmla="*/ 183306 h 492194"/>
                    <a:gd name="connsiteX22" fmla="*/ 81768 w 609377"/>
                    <a:gd name="connsiteY22" fmla="*/ 179942 h 492194"/>
                    <a:gd name="connsiteX23" fmla="*/ 81885 w 609377"/>
                    <a:gd name="connsiteY23" fmla="*/ 180118 h 492194"/>
                    <a:gd name="connsiteX24" fmla="*/ 86754 w 609377"/>
                    <a:gd name="connsiteY24" fmla="*/ 179942 h 492194"/>
                    <a:gd name="connsiteX25" fmla="*/ 173449 w 609377"/>
                    <a:gd name="connsiteY25" fmla="*/ 266555 h 492194"/>
                    <a:gd name="connsiteX26" fmla="*/ 173625 w 609377"/>
                    <a:gd name="connsiteY26" fmla="*/ 286583 h 492194"/>
                    <a:gd name="connsiteX27" fmla="*/ 173625 w 609377"/>
                    <a:gd name="connsiteY27" fmla="*/ 310476 h 492194"/>
                    <a:gd name="connsiteX28" fmla="*/ 178552 w 609377"/>
                    <a:gd name="connsiteY28" fmla="*/ 310476 h 492194"/>
                    <a:gd name="connsiteX29" fmla="*/ 384966 w 609377"/>
                    <a:gd name="connsiteY29" fmla="*/ 310594 h 492194"/>
                    <a:gd name="connsiteX30" fmla="*/ 420923 w 609377"/>
                    <a:gd name="connsiteY30" fmla="*/ 346492 h 492194"/>
                    <a:gd name="connsiteX31" fmla="*/ 384966 w 609377"/>
                    <a:gd name="connsiteY31" fmla="*/ 382390 h 492194"/>
                    <a:gd name="connsiteX32" fmla="*/ 179549 w 609377"/>
                    <a:gd name="connsiteY32" fmla="*/ 382390 h 492194"/>
                    <a:gd name="connsiteX33" fmla="*/ 171278 w 609377"/>
                    <a:gd name="connsiteY33" fmla="*/ 382273 h 492194"/>
                    <a:gd name="connsiteX34" fmla="*/ 148989 w 609377"/>
                    <a:gd name="connsiteY34" fmla="*/ 372084 h 492194"/>
                    <a:gd name="connsiteX35" fmla="*/ 78483 w 609377"/>
                    <a:gd name="connsiteY35" fmla="*/ 295250 h 492194"/>
                    <a:gd name="connsiteX36" fmla="*/ 69978 w 609377"/>
                    <a:gd name="connsiteY36" fmla="*/ 294899 h 492194"/>
                    <a:gd name="connsiteX37" fmla="*/ 69626 w 609377"/>
                    <a:gd name="connsiteY37" fmla="*/ 303390 h 492194"/>
                    <a:gd name="connsiteX38" fmla="*/ 140073 w 609377"/>
                    <a:gd name="connsiteY38" fmla="*/ 380165 h 492194"/>
                    <a:gd name="connsiteX39" fmla="*/ 171044 w 609377"/>
                    <a:gd name="connsiteY39" fmla="*/ 393751 h 492194"/>
                    <a:gd name="connsiteX40" fmla="*/ 171337 w 609377"/>
                    <a:gd name="connsiteY40" fmla="*/ 393751 h 492194"/>
                    <a:gd name="connsiteX41" fmla="*/ 173625 w 609377"/>
                    <a:gd name="connsiteY41" fmla="*/ 393927 h 492194"/>
                    <a:gd name="connsiteX42" fmla="*/ 173625 w 609377"/>
                    <a:gd name="connsiteY42" fmla="*/ 492194 h 492194"/>
                    <a:gd name="connsiteX43" fmla="*/ 0 w 609377"/>
                    <a:gd name="connsiteY43" fmla="*/ 492194 h 492194"/>
                    <a:gd name="connsiteX44" fmla="*/ 0 w 609377"/>
                    <a:gd name="connsiteY44" fmla="*/ 261577 h 492194"/>
                    <a:gd name="connsiteX45" fmla="*/ 81768 w 609377"/>
                    <a:gd name="connsiteY45" fmla="*/ 179942 h 492194"/>
                    <a:gd name="connsiteX46" fmla="*/ 165194 w 609377"/>
                    <a:gd name="connsiteY46" fmla="*/ 0 h 492194"/>
                    <a:gd name="connsiteX47" fmla="*/ 255306 w 609377"/>
                    <a:gd name="connsiteY47" fmla="*/ 89971 h 492194"/>
                    <a:gd name="connsiteX48" fmla="*/ 165194 w 609377"/>
                    <a:gd name="connsiteY48" fmla="*/ 179942 h 492194"/>
                    <a:gd name="connsiteX49" fmla="*/ 75082 w 609377"/>
                    <a:gd name="connsiteY49" fmla="*/ 89971 h 492194"/>
                    <a:gd name="connsiteX50" fmla="*/ 165194 w 609377"/>
                    <a:gd name="connsiteY50" fmla="*/ 0 h 492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609377" h="492194">
                      <a:moveTo>
                        <a:pt x="199013" y="435742"/>
                      </a:moveTo>
                      <a:lnTo>
                        <a:pt x="414600" y="435742"/>
                      </a:lnTo>
                      <a:lnTo>
                        <a:pt x="518491" y="435742"/>
                      </a:lnTo>
                      <a:lnTo>
                        <a:pt x="572285" y="435742"/>
                      </a:lnTo>
                      <a:lnTo>
                        <a:pt x="572285" y="478222"/>
                      </a:lnTo>
                      <a:lnTo>
                        <a:pt x="518491" y="478222"/>
                      </a:lnTo>
                      <a:lnTo>
                        <a:pt x="414600" y="478222"/>
                      </a:lnTo>
                      <a:lnTo>
                        <a:pt x="199013" y="478222"/>
                      </a:lnTo>
                      <a:cubicBezTo>
                        <a:pt x="190038" y="478222"/>
                        <a:pt x="182764" y="470966"/>
                        <a:pt x="182764" y="461956"/>
                      </a:cubicBezTo>
                      <a:lnTo>
                        <a:pt x="182764" y="452008"/>
                      </a:lnTo>
                      <a:cubicBezTo>
                        <a:pt x="182764" y="443056"/>
                        <a:pt x="190038" y="435742"/>
                        <a:pt x="199013" y="435742"/>
                      </a:cubicBezTo>
                      <a:close/>
                      <a:moveTo>
                        <a:pt x="598532" y="183306"/>
                      </a:moveTo>
                      <a:cubicBezTo>
                        <a:pt x="606921" y="186234"/>
                        <a:pt x="611379" y="195311"/>
                        <a:pt x="608505" y="203745"/>
                      </a:cubicBezTo>
                      <a:lnTo>
                        <a:pt x="536759" y="412878"/>
                      </a:lnTo>
                      <a:cubicBezTo>
                        <a:pt x="536173" y="414518"/>
                        <a:pt x="535352" y="416041"/>
                        <a:pt x="534354" y="417329"/>
                      </a:cubicBezTo>
                      <a:cubicBezTo>
                        <a:pt x="531480" y="421487"/>
                        <a:pt x="526611" y="424240"/>
                        <a:pt x="521155" y="424240"/>
                      </a:cubicBezTo>
                      <a:lnTo>
                        <a:pt x="265794" y="424240"/>
                      </a:lnTo>
                      <a:cubicBezTo>
                        <a:pt x="256877" y="424240"/>
                        <a:pt x="249661" y="417037"/>
                        <a:pt x="249661" y="408193"/>
                      </a:cubicBezTo>
                      <a:cubicBezTo>
                        <a:pt x="249661" y="399292"/>
                        <a:pt x="256877" y="392147"/>
                        <a:pt x="265794" y="392147"/>
                      </a:cubicBezTo>
                      <a:lnTo>
                        <a:pt x="509892" y="392147"/>
                      </a:lnTo>
                      <a:lnTo>
                        <a:pt x="578058" y="193320"/>
                      </a:lnTo>
                      <a:cubicBezTo>
                        <a:pt x="580933" y="184945"/>
                        <a:pt x="590084" y="180436"/>
                        <a:pt x="598532" y="183306"/>
                      </a:cubicBezTo>
                      <a:close/>
                      <a:moveTo>
                        <a:pt x="81768" y="179942"/>
                      </a:moveTo>
                      <a:lnTo>
                        <a:pt x="81885" y="180118"/>
                      </a:lnTo>
                      <a:cubicBezTo>
                        <a:pt x="83527" y="180001"/>
                        <a:pt x="85111" y="179942"/>
                        <a:pt x="86754" y="179942"/>
                      </a:cubicBezTo>
                      <a:cubicBezTo>
                        <a:pt x="134618" y="179942"/>
                        <a:pt x="173449" y="218710"/>
                        <a:pt x="173449" y="266555"/>
                      </a:cubicBezTo>
                      <a:lnTo>
                        <a:pt x="173625" y="286583"/>
                      </a:lnTo>
                      <a:lnTo>
                        <a:pt x="173625" y="310476"/>
                      </a:lnTo>
                      <a:lnTo>
                        <a:pt x="178552" y="310476"/>
                      </a:lnTo>
                      <a:lnTo>
                        <a:pt x="384966" y="310594"/>
                      </a:lnTo>
                      <a:cubicBezTo>
                        <a:pt x="404793" y="310594"/>
                        <a:pt x="420923" y="326698"/>
                        <a:pt x="420923" y="346492"/>
                      </a:cubicBezTo>
                      <a:cubicBezTo>
                        <a:pt x="420923" y="366286"/>
                        <a:pt x="404793" y="382390"/>
                        <a:pt x="384966" y="382390"/>
                      </a:cubicBezTo>
                      <a:lnTo>
                        <a:pt x="179549" y="382390"/>
                      </a:lnTo>
                      <a:cubicBezTo>
                        <a:pt x="179549" y="382390"/>
                        <a:pt x="171865" y="382273"/>
                        <a:pt x="171278" y="382273"/>
                      </a:cubicBezTo>
                      <a:cubicBezTo>
                        <a:pt x="162773" y="382098"/>
                        <a:pt x="154678" y="378291"/>
                        <a:pt x="148989" y="372084"/>
                      </a:cubicBezTo>
                      <a:lnTo>
                        <a:pt x="78483" y="295250"/>
                      </a:lnTo>
                      <a:cubicBezTo>
                        <a:pt x="76254" y="292791"/>
                        <a:pt x="72441" y="292674"/>
                        <a:pt x="69978" y="294899"/>
                      </a:cubicBezTo>
                      <a:cubicBezTo>
                        <a:pt x="67514" y="297124"/>
                        <a:pt x="67397" y="300931"/>
                        <a:pt x="69626" y="303390"/>
                      </a:cubicBezTo>
                      <a:lnTo>
                        <a:pt x="140073" y="380165"/>
                      </a:lnTo>
                      <a:cubicBezTo>
                        <a:pt x="148050" y="388832"/>
                        <a:pt x="159312" y="393751"/>
                        <a:pt x="171044" y="393751"/>
                      </a:cubicBezTo>
                      <a:cubicBezTo>
                        <a:pt x="171161" y="393751"/>
                        <a:pt x="171161" y="393751"/>
                        <a:pt x="171337" y="393751"/>
                      </a:cubicBezTo>
                      <a:lnTo>
                        <a:pt x="173625" y="393927"/>
                      </a:lnTo>
                      <a:lnTo>
                        <a:pt x="173625" y="492194"/>
                      </a:lnTo>
                      <a:lnTo>
                        <a:pt x="0" y="492194"/>
                      </a:lnTo>
                      <a:lnTo>
                        <a:pt x="0" y="261577"/>
                      </a:lnTo>
                      <a:cubicBezTo>
                        <a:pt x="0" y="216485"/>
                        <a:pt x="36602" y="179942"/>
                        <a:pt x="81768" y="179942"/>
                      </a:cubicBezTo>
                      <a:close/>
                      <a:moveTo>
                        <a:pt x="165194" y="0"/>
                      </a:moveTo>
                      <a:cubicBezTo>
                        <a:pt x="214961" y="0"/>
                        <a:pt x="255306" y="40281"/>
                        <a:pt x="255306" y="89971"/>
                      </a:cubicBezTo>
                      <a:cubicBezTo>
                        <a:pt x="255306" y="139661"/>
                        <a:pt x="214961" y="179942"/>
                        <a:pt x="165194" y="179942"/>
                      </a:cubicBezTo>
                      <a:cubicBezTo>
                        <a:pt x="115427" y="179942"/>
                        <a:pt x="75082" y="139661"/>
                        <a:pt x="75082" y="89971"/>
                      </a:cubicBezTo>
                      <a:cubicBezTo>
                        <a:pt x="75082" y="40281"/>
                        <a:pt x="115427" y="0"/>
                        <a:pt x="16519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</p:spPr>
            </p:sp>
            <p:cxnSp>
              <p:nvCxnSpPr>
                <p:cNvPr id="35" name="直接箭头连接符 34"/>
                <p:cNvCxnSpPr/>
                <p:nvPr/>
              </p:nvCxnSpPr>
              <p:spPr>
                <a:xfrm flipV="1">
                  <a:off x="2913701" y="4020104"/>
                  <a:ext cx="340541" cy="208269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chemeClr val="tx1"/>
                  </a:solidFill>
                  <a:prstDash val="dash"/>
                  <a:miter lim="800000"/>
                  <a:tailEnd type="triangle"/>
                </a:ln>
                <a:effectLst/>
              </p:spPr>
            </p:cxnSp>
            <p:cxnSp>
              <p:nvCxnSpPr>
                <p:cNvPr id="36" name="直接箭头连接符 35"/>
                <p:cNvCxnSpPr/>
                <p:nvPr/>
              </p:nvCxnSpPr>
              <p:spPr>
                <a:xfrm>
                  <a:off x="3716040" y="3450343"/>
                  <a:ext cx="0" cy="257415"/>
                </a:xfrm>
                <a:prstGeom prst="straightConnector1">
                  <a:avLst/>
                </a:prstGeom>
                <a:noFill/>
                <a:ln w="6350" cap="flat" cmpd="sng" algn="ctr">
                  <a:solidFill>
                    <a:schemeClr val="tx1"/>
                  </a:solidFill>
                  <a:prstDash val="dash"/>
                  <a:miter lim="800000"/>
                  <a:tailEnd type="triangle"/>
                </a:ln>
                <a:effectLst/>
              </p:spPr>
            </p:cxnSp>
          </p:grpSp>
          <p:sp>
            <p:nvSpPr>
              <p:cNvPr id="22" name="í$ḷîďe">
                <a:extLst>
                  <a:ext uri="{FF2B5EF4-FFF2-40B4-BE49-F238E27FC236}">
                    <a16:creationId xmlns:a16="http://schemas.microsoft.com/office/drawing/2014/main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1933652" y="3867706"/>
                <a:ext cx="542016" cy="394391"/>
              </a:xfrm>
              <a:custGeom>
                <a:avLst/>
                <a:gdLst>
                  <a:gd name="connsiteX0" fmla="*/ 202379 w 606724"/>
                  <a:gd name="connsiteY0" fmla="*/ 264752 h 441476"/>
                  <a:gd name="connsiteX1" fmla="*/ 277521 w 606724"/>
                  <a:gd name="connsiteY1" fmla="*/ 264752 h 441476"/>
                  <a:gd name="connsiteX2" fmla="*/ 366033 w 606724"/>
                  <a:gd name="connsiteY2" fmla="*/ 349892 h 441476"/>
                  <a:gd name="connsiteX3" fmla="*/ 328692 w 606724"/>
                  <a:gd name="connsiteY3" fmla="*/ 349892 h 441476"/>
                  <a:gd name="connsiteX4" fmla="*/ 311635 w 606724"/>
                  <a:gd name="connsiteY4" fmla="*/ 340228 h 441476"/>
                  <a:gd name="connsiteX5" fmla="*/ 277521 w 606724"/>
                  <a:gd name="connsiteY5" fmla="*/ 316757 h 441476"/>
                  <a:gd name="connsiteX6" fmla="*/ 202379 w 606724"/>
                  <a:gd name="connsiteY6" fmla="*/ 316757 h 441476"/>
                  <a:gd name="connsiteX7" fmla="*/ 165960 w 606724"/>
                  <a:gd name="connsiteY7" fmla="*/ 353114 h 441476"/>
                  <a:gd name="connsiteX8" fmla="*/ 202379 w 606724"/>
                  <a:gd name="connsiteY8" fmla="*/ 389471 h 441476"/>
                  <a:gd name="connsiteX9" fmla="*/ 242485 w 606724"/>
                  <a:gd name="connsiteY9" fmla="*/ 389471 h 441476"/>
                  <a:gd name="connsiteX10" fmla="*/ 314401 w 606724"/>
                  <a:gd name="connsiteY10" fmla="*/ 433652 h 441476"/>
                  <a:gd name="connsiteX11" fmla="*/ 277521 w 606724"/>
                  <a:gd name="connsiteY11" fmla="*/ 441476 h 441476"/>
                  <a:gd name="connsiteX12" fmla="*/ 202379 w 606724"/>
                  <a:gd name="connsiteY12" fmla="*/ 441476 h 441476"/>
                  <a:gd name="connsiteX13" fmla="*/ 113867 w 606724"/>
                  <a:gd name="connsiteY13" fmla="*/ 353114 h 441476"/>
                  <a:gd name="connsiteX14" fmla="*/ 202379 w 606724"/>
                  <a:gd name="connsiteY14" fmla="*/ 264752 h 441476"/>
                  <a:gd name="connsiteX15" fmla="*/ 328704 w 606724"/>
                  <a:gd name="connsiteY15" fmla="*/ 241209 h 441476"/>
                  <a:gd name="connsiteX16" fmla="*/ 403863 w 606724"/>
                  <a:gd name="connsiteY16" fmla="*/ 241209 h 441476"/>
                  <a:gd name="connsiteX17" fmla="*/ 492856 w 606724"/>
                  <a:gd name="connsiteY17" fmla="*/ 329637 h 441476"/>
                  <a:gd name="connsiteX18" fmla="*/ 403863 w 606724"/>
                  <a:gd name="connsiteY18" fmla="*/ 418525 h 441476"/>
                  <a:gd name="connsiteX19" fmla="*/ 328704 w 606724"/>
                  <a:gd name="connsiteY19" fmla="*/ 418525 h 441476"/>
                  <a:gd name="connsiteX20" fmla="*/ 320404 w 606724"/>
                  <a:gd name="connsiteY20" fmla="*/ 418064 h 441476"/>
                  <a:gd name="connsiteX21" fmla="*/ 316715 w 606724"/>
                  <a:gd name="connsiteY21" fmla="*/ 417604 h 441476"/>
                  <a:gd name="connsiteX22" fmla="*/ 240172 w 606724"/>
                  <a:gd name="connsiteY22" fmla="*/ 332861 h 441476"/>
                  <a:gd name="connsiteX23" fmla="*/ 277521 w 606724"/>
                  <a:gd name="connsiteY23" fmla="*/ 332861 h 441476"/>
                  <a:gd name="connsiteX24" fmla="*/ 294582 w 606724"/>
                  <a:gd name="connsiteY24" fmla="*/ 342532 h 441476"/>
                  <a:gd name="connsiteX25" fmla="*/ 328704 w 606724"/>
                  <a:gd name="connsiteY25" fmla="*/ 366021 h 441476"/>
                  <a:gd name="connsiteX26" fmla="*/ 383114 w 606724"/>
                  <a:gd name="connsiteY26" fmla="*/ 366021 h 441476"/>
                  <a:gd name="connsiteX27" fmla="*/ 403863 w 606724"/>
                  <a:gd name="connsiteY27" fmla="*/ 366021 h 441476"/>
                  <a:gd name="connsiteX28" fmla="*/ 440290 w 606724"/>
                  <a:gd name="connsiteY28" fmla="*/ 329637 h 441476"/>
                  <a:gd name="connsiteX29" fmla="*/ 403863 w 606724"/>
                  <a:gd name="connsiteY29" fmla="*/ 293252 h 441476"/>
                  <a:gd name="connsiteX30" fmla="*/ 364208 w 606724"/>
                  <a:gd name="connsiteY30" fmla="*/ 293252 h 441476"/>
                  <a:gd name="connsiteX31" fmla="*/ 291815 w 606724"/>
                  <a:gd name="connsiteY31" fmla="*/ 249499 h 441476"/>
                  <a:gd name="connsiteX32" fmla="*/ 328704 w 606724"/>
                  <a:gd name="connsiteY32" fmla="*/ 241209 h 441476"/>
                  <a:gd name="connsiteX33" fmla="*/ 260025 w 606724"/>
                  <a:gd name="connsiteY33" fmla="*/ 0 h 441476"/>
                  <a:gd name="connsiteX34" fmla="*/ 349466 w 606724"/>
                  <a:gd name="connsiteY34" fmla="*/ 29925 h 441476"/>
                  <a:gd name="connsiteX35" fmla="*/ 360069 w 606724"/>
                  <a:gd name="connsiteY35" fmla="*/ 33148 h 441476"/>
                  <a:gd name="connsiteX36" fmla="*/ 367446 w 606724"/>
                  <a:gd name="connsiteY36" fmla="*/ 32687 h 441476"/>
                  <a:gd name="connsiteX37" fmla="*/ 473945 w 606724"/>
                  <a:gd name="connsiteY37" fmla="*/ 86553 h 441476"/>
                  <a:gd name="connsiteX38" fmla="*/ 485471 w 606724"/>
                  <a:gd name="connsiteY38" fmla="*/ 92998 h 441476"/>
                  <a:gd name="connsiteX39" fmla="*/ 606724 w 606724"/>
                  <a:gd name="connsiteY39" fmla="*/ 224669 h 441476"/>
                  <a:gd name="connsiteX40" fmla="*/ 516822 w 606724"/>
                  <a:gd name="connsiteY40" fmla="*/ 349894 h 441476"/>
                  <a:gd name="connsiteX41" fmla="*/ 518666 w 606724"/>
                  <a:gd name="connsiteY41" fmla="*/ 329637 h 441476"/>
                  <a:gd name="connsiteX42" fmla="*/ 513134 w 606724"/>
                  <a:gd name="connsiteY42" fmla="*/ 294648 h 441476"/>
                  <a:gd name="connsiteX43" fmla="*/ 554166 w 606724"/>
                  <a:gd name="connsiteY43" fmla="*/ 224669 h 441476"/>
                  <a:gd name="connsiteX44" fmla="*/ 473945 w 606724"/>
                  <a:gd name="connsiteY44" fmla="*/ 144561 h 441476"/>
                  <a:gd name="connsiteX45" fmla="*/ 466108 w 606724"/>
                  <a:gd name="connsiteY45" fmla="*/ 145022 h 441476"/>
                  <a:gd name="connsiteX46" fmla="*/ 439829 w 606724"/>
                  <a:gd name="connsiteY46" fmla="*/ 130289 h 441476"/>
                  <a:gd name="connsiteX47" fmla="*/ 367446 w 606724"/>
                  <a:gd name="connsiteY47" fmla="*/ 84711 h 441476"/>
                  <a:gd name="connsiteX48" fmla="*/ 351310 w 606724"/>
                  <a:gd name="connsiteY48" fmla="*/ 86553 h 441476"/>
                  <a:gd name="connsiteX49" fmla="*/ 327797 w 606724"/>
                  <a:gd name="connsiteY49" fmla="*/ 79647 h 441476"/>
                  <a:gd name="connsiteX50" fmla="*/ 260025 w 606724"/>
                  <a:gd name="connsiteY50" fmla="*/ 52024 h 441476"/>
                  <a:gd name="connsiteX51" fmla="*/ 166434 w 606724"/>
                  <a:gd name="connsiteY51" fmla="*/ 125225 h 441476"/>
                  <a:gd name="connsiteX52" fmla="*/ 139233 w 606724"/>
                  <a:gd name="connsiteY52" fmla="*/ 145022 h 441476"/>
                  <a:gd name="connsiteX53" fmla="*/ 132317 w 606724"/>
                  <a:gd name="connsiteY53" fmla="*/ 144561 h 441476"/>
                  <a:gd name="connsiteX54" fmla="*/ 52097 w 606724"/>
                  <a:gd name="connsiteY54" fmla="*/ 224669 h 441476"/>
                  <a:gd name="connsiteX55" fmla="*/ 101428 w 606724"/>
                  <a:gd name="connsiteY55" fmla="*/ 298791 h 441476"/>
                  <a:gd name="connsiteX56" fmla="*/ 88058 w 606724"/>
                  <a:gd name="connsiteY56" fmla="*/ 348973 h 441476"/>
                  <a:gd name="connsiteX57" fmla="*/ 0 w 606724"/>
                  <a:gd name="connsiteY57" fmla="*/ 224669 h 441476"/>
                  <a:gd name="connsiteX58" fmla="*/ 113876 w 606724"/>
                  <a:gd name="connsiteY58" fmla="*/ 93459 h 441476"/>
                  <a:gd name="connsiteX59" fmla="*/ 125863 w 606724"/>
                  <a:gd name="connsiteY59" fmla="*/ 84711 h 441476"/>
                  <a:gd name="connsiteX60" fmla="*/ 260025 w 606724"/>
                  <a:gd name="connsiteY60" fmla="*/ 0 h 44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06724" h="441476">
                    <a:moveTo>
                      <a:pt x="202379" y="264752"/>
                    </a:moveTo>
                    <a:lnTo>
                      <a:pt x="277521" y="264752"/>
                    </a:lnTo>
                    <a:cubicBezTo>
                      <a:pt x="325465" y="264752"/>
                      <a:pt x="364650" y="302490"/>
                      <a:pt x="366033" y="349892"/>
                    </a:cubicBezTo>
                    <a:lnTo>
                      <a:pt x="328692" y="349892"/>
                    </a:lnTo>
                    <a:cubicBezTo>
                      <a:pt x="321316" y="349892"/>
                      <a:pt x="314401" y="346211"/>
                      <a:pt x="311635" y="340228"/>
                    </a:cubicBezTo>
                    <a:cubicBezTo>
                      <a:pt x="305642" y="325961"/>
                      <a:pt x="293195" y="316757"/>
                      <a:pt x="277521" y="316757"/>
                    </a:cubicBezTo>
                    <a:lnTo>
                      <a:pt x="202379" y="316757"/>
                    </a:lnTo>
                    <a:cubicBezTo>
                      <a:pt x="182556" y="316757"/>
                      <a:pt x="165960" y="332864"/>
                      <a:pt x="165960" y="353114"/>
                    </a:cubicBezTo>
                    <a:cubicBezTo>
                      <a:pt x="165960" y="373364"/>
                      <a:pt x="182556" y="389471"/>
                      <a:pt x="202379" y="389471"/>
                    </a:cubicBezTo>
                    <a:lnTo>
                      <a:pt x="242485" y="389471"/>
                    </a:lnTo>
                    <a:cubicBezTo>
                      <a:pt x="259081" y="412942"/>
                      <a:pt x="284897" y="429510"/>
                      <a:pt x="314401" y="433652"/>
                    </a:cubicBezTo>
                    <a:cubicBezTo>
                      <a:pt x="303337" y="438715"/>
                      <a:pt x="290890" y="441476"/>
                      <a:pt x="277521" y="441476"/>
                    </a:cubicBezTo>
                    <a:lnTo>
                      <a:pt x="202379" y="441476"/>
                    </a:lnTo>
                    <a:cubicBezTo>
                      <a:pt x="153513" y="441476"/>
                      <a:pt x="113867" y="401897"/>
                      <a:pt x="113867" y="353114"/>
                    </a:cubicBezTo>
                    <a:cubicBezTo>
                      <a:pt x="113867" y="304331"/>
                      <a:pt x="153513" y="264752"/>
                      <a:pt x="202379" y="264752"/>
                    </a:cubicBezTo>
                    <a:close/>
                    <a:moveTo>
                      <a:pt x="328704" y="241209"/>
                    </a:moveTo>
                    <a:lnTo>
                      <a:pt x="403863" y="241209"/>
                    </a:lnTo>
                    <a:cubicBezTo>
                      <a:pt x="452740" y="241209"/>
                      <a:pt x="492856" y="280817"/>
                      <a:pt x="492856" y="329637"/>
                    </a:cubicBezTo>
                    <a:cubicBezTo>
                      <a:pt x="492856" y="378456"/>
                      <a:pt x="452740" y="418525"/>
                      <a:pt x="403863" y="418525"/>
                    </a:cubicBezTo>
                    <a:lnTo>
                      <a:pt x="328704" y="418525"/>
                    </a:lnTo>
                    <a:cubicBezTo>
                      <a:pt x="325937" y="418525"/>
                      <a:pt x="323170" y="418064"/>
                      <a:pt x="320404" y="418064"/>
                    </a:cubicBezTo>
                    <a:lnTo>
                      <a:pt x="316715" y="417604"/>
                    </a:lnTo>
                    <a:cubicBezTo>
                      <a:pt x="265994" y="411617"/>
                      <a:pt x="240172" y="364639"/>
                      <a:pt x="240172" y="332861"/>
                    </a:cubicBezTo>
                    <a:lnTo>
                      <a:pt x="277521" y="332861"/>
                    </a:lnTo>
                    <a:cubicBezTo>
                      <a:pt x="284438" y="332861"/>
                      <a:pt x="291815" y="336085"/>
                      <a:pt x="294582" y="342532"/>
                    </a:cubicBezTo>
                    <a:cubicBezTo>
                      <a:pt x="305649" y="366482"/>
                      <a:pt x="327320" y="366021"/>
                      <a:pt x="328704" y="366021"/>
                    </a:cubicBezTo>
                    <a:lnTo>
                      <a:pt x="383114" y="366021"/>
                    </a:lnTo>
                    <a:lnTo>
                      <a:pt x="403863" y="366021"/>
                    </a:lnTo>
                    <a:cubicBezTo>
                      <a:pt x="424152" y="366021"/>
                      <a:pt x="440290" y="349901"/>
                      <a:pt x="440290" y="329637"/>
                    </a:cubicBezTo>
                    <a:cubicBezTo>
                      <a:pt x="440290" y="309833"/>
                      <a:pt x="424152" y="293252"/>
                      <a:pt x="403863" y="293252"/>
                    </a:cubicBezTo>
                    <a:lnTo>
                      <a:pt x="364208" y="293252"/>
                    </a:lnTo>
                    <a:cubicBezTo>
                      <a:pt x="347609" y="269764"/>
                      <a:pt x="321787" y="253184"/>
                      <a:pt x="291815" y="249499"/>
                    </a:cubicBezTo>
                    <a:cubicBezTo>
                      <a:pt x="303343" y="243972"/>
                      <a:pt x="315793" y="241209"/>
                      <a:pt x="328704" y="241209"/>
                    </a:cubicBezTo>
                    <a:close/>
                    <a:moveTo>
                      <a:pt x="260025" y="0"/>
                    </a:moveTo>
                    <a:cubicBezTo>
                      <a:pt x="292758" y="0"/>
                      <a:pt x="323648" y="10589"/>
                      <a:pt x="349466" y="29925"/>
                    </a:cubicBezTo>
                    <a:cubicBezTo>
                      <a:pt x="352232" y="32227"/>
                      <a:pt x="355920" y="33148"/>
                      <a:pt x="360069" y="33148"/>
                    </a:cubicBezTo>
                    <a:cubicBezTo>
                      <a:pt x="362375" y="32687"/>
                      <a:pt x="365141" y="32687"/>
                      <a:pt x="367446" y="32687"/>
                    </a:cubicBezTo>
                    <a:cubicBezTo>
                      <a:pt x="409861" y="32687"/>
                      <a:pt x="449511" y="53405"/>
                      <a:pt x="473945" y="86553"/>
                    </a:cubicBezTo>
                    <a:cubicBezTo>
                      <a:pt x="476712" y="90236"/>
                      <a:pt x="480861" y="92538"/>
                      <a:pt x="485471" y="92998"/>
                    </a:cubicBezTo>
                    <a:cubicBezTo>
                      <a:pt x="553244" y="98523"/>
                      <a:pt x="606724" y="155611"/>
                      <a:pt x="606724" y="224669"/>
                    </a:cubicBezTo>
                    <a:cubicBezTo>
                      <a:pt x="606724" y="282678"/>
                      <a:pt x="568919" y="331939"/>
                      <a:pt x="516822" y="349894"/>
                    </a:cubicBezTo>
                    <a:cubicBezTo>
                      <a:pt x="518205" y="343449"/>
                      <a:pt x="518666" y="336543"/>
                      <a:pt x="518666" y="329637"/>
                    </a:cubicBezTo>
                    <a:cubicBezTo>
                      <a:pt x="518666" y="317667"/>
                      <a:pt x="516822" y="305697"/>
                      <a:pt x="513134" y="294648"/>
                    </a:cubicBezTo>
                    <a:cubicBezTo>
                      <a:pt x="537569" y="280836"/>
                      <a:pt x="554166" y="254594"/>
                      <a:pt x="554166" y="224669"/>
                    </a:cubicBezTo>
                    <a:cubicBezTo>
                      <a:pt x="554166" y="180472"/>
                      <a:pt x="518205" y="144561"/>
                      <a:pt x="473945" y="144561"/>
                    </a:cubicBezTo>
                    <a:cubicBezTo>
                      <a:pt x="471179" y="144561"/>
                      <a:pt x="468874" y="144561"/>
                      <a:pt x="466108" y="145022"/>
                    </a:cubicBezTo>
                    <a:cubicBezTo>
                      <a:pt x="455043" y="145943"/>
                      <a:pt x="444439" y="139958"/>
                      <a:pt x="439829" y="130289"/>
                    </a:cubicBezTo>
                    <a:cubicBezTo>
                      <a:pt x="426459" y="102206"/>
                      <a:pt x="398797" y="84711"/>
                      <a:pt x="367446" y="84711"/>
                    </a:cubicBezTo>
                    <a:cubicBezTo>
                      <a:pt x="361914" y="84711"/>
                      <a:pt x="356381" y="85632"/>
                      <a:pt x="351310" y="86553"/>
                    </a:cubicBezTo>
                    <a:cubicBezTo>
                      <a:pt x="342550" y="88394"/>
                      <a:pt x="333790" y="85632"/>
                      <a:pt x="327797" y="79647"/>
                    </a:cubicBezTo>
                    <a:cubicBezTo>
                      <a:pt x="309355" y="62152"/>
                      <a:pt x="285382" y="52024"/>
                      <a:pt x="260025" y="52024"/>
                    </a:cubicBezTo>
                    <a:cubicBezTo>
                      <a:pt x="215765" y="52024"/>
                      <a:pt x="177499" y="82409"/>
                      <a:pt x="166434" y="125225"/>
                    </a:cubicBezTo>
                    <a:cubicBezTo>
                      <a:pt x="163668" y="137656"/>
                      <a:pt x="151681" y="145943"/>
                      <a:pt x="139233" y="145022"/>
                    </a:cubicBezTo>
                    <a:cubicBezTo>
                      <a:pt x="136928" y="144561"/>
                      <a:pt x="134623" y="144561"/>
                      <a:pt x="132317" y="144561"/>
                    </a:cubicBezTo>
                    <a:cubicBezTo>
                      <a:pt x="88058" y="144561"/>
                      <a:pt x="52097" y="180472"/>
                      <a:pt x="52097" y="224669"/>
                    </a:cubicBezTo>
                    <a:cubicBezTo>
                      <a:pt x="52097" y="257817"/>
                      <a:pt x="72844" y="286361"/>
                      <a:pt x="101428" y="298791"/>
                    </a:cubicBezTo>
                    <a:cubicBezTo>
                      <a:pt x="93590" y="313523"/>
                      <a:pt x="88519" y="331018"/>
                      <a:pt x="88058" y="348973"/>
                    </a:cubicBezTo>
                    <a:cubicBezTo>
                      <a:pt x="36883" y="331018"/>
                      <a:pt x="0" y="282217"/>
                      <a:pt x="0" y="224669"/>
                    </a:cubicBezTo>
                    <a:cubicBezTo>
                      <a:pt x="0" y="157913"/>
                      <a:pt x="49331" y="102666"/>
                      <a:pt x="113876" y="93459"/>
                    </a:cubicBezTo>
                    <a:cubicBezTo>
                      <a:pt x="118947" y="92998"/>
                      <a:pt x="123558" y="89775"/>
                      <a:pt x="125863" y="84711"/>
                    </a:cubicBezTo>
                    <a:cubicBezTo>
                      <a:pt x="150298" y="33608"/>
                      <a:pt x="201934" y="0"/>
                      <a:pt x="26002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sp>
            <p:nvSpPr>
              <p:cNvPr id="23" name="í$ḷîďe">
                <a:extLst>
                  <a:ext uri="{FF2B5EF4-FFF2-40B4-BE49-F238E27FC236}">
                    <a16:creationId xmlns:a16="http://schemas.microsoft.com/office/drawing/2014/main" id="{A1FB5617-0A71-4653-91E7-F18005193F84}"/>
                  </a:ext>
                </a:extLst>
              </p:cNvPr>
              <p:cNvSpPr/>
              <p:nvPr/>
            </p:nvSpPr>
            <p:spPr bwMode="auto">
              <a:xfrm>
                <a:off x="1131823" y="4740529"/>
                <a:ext cx="316490" cy="230290"/>
              </a:xfrm>
              <a:custGeom>
                <a:avLst/>
                <a:gdLst>
                  <a:gd name="connsiteX0" fmla="*/ 202379 w 606724"/>
                  <a:gd name="connsiteY0" fmla="*/ 264752 h 441476"/>
                  <a:gd name="connsiteX1" fmla="*/ 277521 w 606724"/>
                  <a:gd name="connsiteY1" fmla="*/ 264752 h 441476"/>
                  <a:gd name="connsiteX2" fmla="*/ 366033 w 606724"/>
                  <a:gd name="connsiteY2" fmla="*/ 349892 h 441476"/>
                  <a:gd name="connsiteX3" fmla="*/ 328692 w 606724"/>
                  <a:gd name="connsiteY3" fmla="*/ 349892 h 441476"/>
                  <a:gd name="connsiteX4" fmla="*/ 311635 w 606724"/>
                  <a:gd name="connsiteY4" fmla="*/ 340228 h 441476"/>
                  <a:gd name="connsiteX5" fmla="*/ 277521 w 606724"/>
                  <a:gd name="connsiteY5" fmla="*/ 316757 h 441476"/>
                  <a:gd name="connsiteX6" fmla="*/ 202379 w 606724"/>
                  <a:gd name="connsiteY6" fmla="*/ 316757 h 441476"/>
                  <a:gd name="connsiteX7" fmla="*/ 165960 w 606724"/>
                  <a:gd name="connsiteY7" fmla="*/ 353114 h 441476"/>
                  <a:gd name="connsiteX8" fmla="*/ 202379 w 606724"/>
                  <a:gd name="connsiteY8" fmla="*/ 389471 h 441476"/>
                  <a:gd name="connsiteX9" fmla="*/ 242485 w 606724"/>
                  <a:gd name="connsiteY9" fmla="*/ 389471 h 441476"/>
                  <a:gd name="connsiteX10" fmla="*/ 314401 w 606724"/>
                  <a:gd name="connsiteY10" fmla="*/ 433652 h 441476"/>
                  <a:gd name="connsiteX11" fmla="*/ 277521 w 606724"/>
                  <a:gd name="connsiteY11" fmla="*/ 441476 h 441476"/>
                  <a:gd name="connsiteX12" fmla="*/ 202379 w 606724"/>
                  <a:gd name="connsiteY12" fmla="*/ 441476 h 441476"/>
                  <a:gd name="connsiteX13" fmla="*/ 113867 w 606724"/>
                  <a:gd name="connsiteY13" fmla="*/ 353114 h 441476"/>
                  <a:gd name="connsiteX14" fmla="*/ 202379 w 606724"/>
                  <a:gd name="connsiteY14" fmla="*/ 264752 h 441476"/>
                  <a:gd name="connsiteX15" fmla="*/ 328704 w 606724"/>
                  <a:gd name="connsiteY15" fmla="*/ 241209 h 441476"/>
                  <a:gd name="connsiteX16" fmla="*/ 403863 w 606724"/>
                  <a:gd name="connsiteY16" fmla="*/ 241209 h 441476"/>
                  <a:gd name="connsiteX17" fmla="*/ 492856 w 606724"/>
                  <a:gd name="connsiteY17" fmla="*/ 329637 h 441476"/>
                  <a:gd name="connsiteX18" fmla="*/ 403863 w 606724"/>
                  <a:gd name="connsiteY18" fmla="*/ 418525 h 441476"/>
                  <a:gd name="connsiteX19" fmla="*/ 328704 w 606724"/>
                  <a:gd name="connsiteY19" fmla="*/ 418525 h 441476"/>
                  <a:gd name="connsiteX20" fmla="*/ 320404 w 606724"/>
                  <a:gd name="connsiteY20" fmla="*/ 418064 h 441476"/>
                  <a:gd name="connsiteX21" fmla="*/ 316715 w 606724"/>
                  <a:gd name="connsiteY21" fmla="*/ 417604 h 441476"/>
                  <a:gd name="connsiteX22" fmla="*/ 240172 w 606724"/>
                  <a:gd name="connsiteY22" fmla="*/ 332861 h 441476"/>
                  <a:gd name="connsiteX23" fmla="*/ 277521 w 606724"/>
                  <a:gd name="connsiteY23" fmla="*/ 332861 h 441476"/>
                  <a:gd name="connsiteX24" fmla="*/ 294582 w 606724"/>
                  <a:gd name="connsiteY24" fmla="*/ 342532 h 441476"/>
                  <a:gd name="connsiteX25" fmla="*/ 328704 w 606724"/>
                  <a:gd name="connsiteY25" fmla="*/ 366021 h 441476"/>
                  <a:gd name="connsiteX26" fmla="*/ 383114 w 606724"/>
                  <a:gd name="connsiteY26" fmla="*/ 366021 h 441476"/>
                  <a:gd name="connsiteX27" fmla="*/ 403863 w 606724"/>
                  <a:gd name="connsiteY27" fmla="*/ 366021 h 441476"/>
                  <a:gd name="connsiteX28" fmla="*/ 440290 w 606724"/>
                  <a:gd name="connsiteY28" fmla="*/ 329637 h 441476"/>
                  <a:gd name="connsiteX29" fmla="*/ 403863 w 606724"/>
                  <a:gd name="connsiteY29" fmla="*/ 293252 h 441476"/>
                  <a:gd name="connsiteX30" fmla="*/ 364208 w 606724"/>
                  <a:gd name="connsiteY30" fmla="*/ 293252 h 441476"/>
                  <a:gd name="connsiteX31" fmla="*/ 291815 w 606724"/>
                  <a:gd name="connsiteY31" fmla="*/ 249499 h 441476"/>
                  <a:gd name="connsiteX32" fmla="*/ 328704 w 606724"/>
                  <a:gd name="connsiteY32" fmla="*/ 241209 h 441476"/>
                  <a:gd name="connsiteX33" fmla="*/ 260025 w 606724"/>
                  <a:gd name="connsiteY33" fmla="*/ 0 h 441476"/>
                  <a:gd name="connsiteX34" fmla="*/ 349466 w 606724"/>
                  <a:gd name="connsiteY34" fmla="*/ 29925 h 441476"/>
                  <a:gd name="connsiteX35" fmla="*/ 360069 w 606724"/>
                  <a:gd name="connsiteY35" fmla="*/ 33148 h 441476"/>
                  <a:gd name="connsiteX36" fmla="*/ 367446 w 606724"/>
                  <a:gd name="connsiteY36" fmla="*/ 32687 h 441476"/>
                  <a:gd name="connsiteX37" fmla="*/ 473945 w 606724"/>
                  <a:gd name="connsiteY37" fmla="*/ 86553 h 441476"/>
                  <a:gd name="connsiteX38" fmla="*/ 485471 w 606724"/>
                  <a:gd name="connsiteY38" fmla="*/ 92998 h 441476"/>
                  <a:gd name="connsiteX39" fmla="*/ 606724 w 606724"/>
                  <a:gd name="connsiteY39" fmla="*/ 224669 h 441476"/>
                  <a:gd name="connsiteX40" fmla="*/ 516822 w 606724"/>
                  <a:gd name="connsiteY40" fmla="*/ 349894 h 441476"/>
                  <a:gd name="connsiteX41" fmla="*/ 518666 w 606724"/>
                  <a:gd name="connsiteY41" fmla="*/ 329637 h 441476"/>
                  <a:gd name="connsiteX42" fmla="*/ 513134 w 606724"/>
                  <a:gd name="connsiteY42" fmla="*/ 294648 h 441476"/>
                  <a:gd name="connsiteX43" fmla="*/ 554166 w 606724"/>
                  <a:gd name="connsiteY43" fmla="*/ 224669 h 441476"/>
                  <a:gd name="connsiteX44" fmla="*/ 473945 w 606724"/>
                  <a:gd name="connsiteY44" fmla="*/ 144561 h 441476"/>
                  <a:gd name="connsiteX45" fmla="*/ 466108 w 606724"/>
                  <a:gd name="connsiteY45" fmla="*/ 145022 h 441476"/>
                  <a:gd name="connsiteX46" fmla="*/ 439829 w 606724"/>
                  <a:gd name="connsiteY46" fmla="*/ 130289 h 441476"/>
                  <a:gd name="connsiteX47" fmla="*/ 367446 w 606724"/>
                  <a:gd name="connsiteY47" fmla="*/ 84711 h 441476"/>
                  <a:gd name="connsiteX48" fmla="*/ 351310 w 606724"/>
                  <a:gd name="connsiteY48" fmla="*/ 86553 h 441476"/>
                  <a:gd name="connsiteX49" fmla="*/ 327797 w 606724"/>
                  <a:gd name="connsiteY49" fmla="*/ 79647 h 441476"/>
                  <a:gd name="connsiteX50" fmla="*/ 260025 w 606724"/>
                  <a:gd name="connsiteY50" fmla="*/ 52024 h 441476"/>
                  <a:gd name="connsiteX51" fmla="*/ 166434 w 606724"/>
                  <a:gd name="connsiteY51" fmla="*/ 125225 h 441476"/>
                  <a:gd name="connsiteX52" fmla="*/ 139233 w 606724"/>
                  <a:gd name="connsiteY52" fmla="*/ 145022 h 441476"/>
                  <a:gd name="connsiteX53" fmla="*/ 132317 w 606724"/>
                  <a:gd name="connsiteY53" fmla="*/ 144561 h 441476"/>
                  <a:gd name="connsiteX54" fmla="*/ 52097 w 606724"/>
                  <a:gd name="connsiteY54" fmla="*/ 224669 h 441476"/>
                  <a:gd name="connsiteX55" fmla="*/ 101428 w 606724"/>
                  <a:gd name="connsiteY55" fmla="*/ 298791 h 441476"/>
                  <a:gd name="connsiteX56" fmla="*/ 88058 w 606724"/>
                  <a:gd name="connsiteY56" fmla="*/ 348973 h 441476"/>
                  <a:gd name="connsiteX57" fmla="*/ 0 w 606724"/>
                  <a:gd name="connsiteY57" fmla="*/ 224669 h 441476"/>
                  <a:gd name="connsiteX58" fmla="*/ 113876 w 606724"/>
                  <a:gd name="connsiteY58" fmla="*/ 93459 h 441476"/>
                  <a:gd name="connsiteX59" fmla="*/ 125863 w 606724"/>
                  <a:gd name="connsiteY59" fmla="*/ 84711 h 441476"/>
                  <a:gd name="connsiteX60" fmla="*/ 260025 w 606724"/>
                  <a:gd name="connsiteY60" fmla="*/ 0 h 44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06724" h="441476">
                    <a:moveTo>
                      <a:pt x="202379" y="264752"/>
                    </a:moveTo>
                    <a:lnTo>
                      <a:pt x="277521" y="264752"/>
                    </a:lnTo>
                    <a:cubicBezTo>
                      <a:pt x="325465" y="264752"/>
                      <a:pt x="364650" y="302490"/>
                      <a:pt x="366033" y="349892"/>
                    </a:cubicBezTo>
                    <a:lnTo>
                      <a:pt x="328692" y="349892"/>
                    </a:lnTo>
                    <a:cubicBezTo>
                      <a:pt x="321316" y="349892"/>
                      <a:pt x="314401" y="346211"/>
                      <a:pt x="311635" y="340228"/>
                    </a:cubicBezTo>
                    <a:cubicBezTo>
                      <a:pt x="305642" y="325961"/>
                      <a:pt x="293195" y="316757"/>
                      <a:pt x="277521" y="316757"/>
                    </a:cubicBezTo>
                    <a:lnTo>
                      <a:pt x="202379" y="316757"/>
                    </a:lnTo>
                    <a:cubicBezTo>
                      <a:pt x="182556" y="316757"/>
                      <a:pt x="165960" y="332864"/>
                      <a:pt x="165960" y="353114"/>
                    </a:cubicBezTo>
                    <a:cubicBezTo>
                      <a:pt x="165960" y="373364"/>
                      <a:pt x="182556" y="389471"/>
                      <a:pt x="202379" y="389471"/>
                    </a:cubicBezTo>
                    <a:lnTo>
                      <a:pt x="242485" y="389471"/>
                    </a:lnTo>
                    <a:cubicBezTo>
                      <a:pt x="259081" y="412942"/>
                      <a:pt x="284897" y="429510"/>
                      <a:pt x="314401" y="433652"/>
                    </a:cubicBezTo>
                    <a:cubicBezTo>
                      <a:pt x="303337" y="438715"/>
                      <a:pt x="290890" y="441476"/>
                      <a:pt x="277521" y="441476"/>
                    </a:cubicBezTo>
                    <a:lnTo>
                      <a:pt x="202379" y="441476"/>
                    </a:lnTo>
                    <a:cubicBezTo>
                      <a:pt x="153513" y="441476"/>
                      <a:pt x="113867" y="401897"/>
                      <a:pt x="113867" y="353114"/>
                    </a:cubicBezTo>
                    <a:cubicBezTo>
                      <a:pt x="113867" y="304331"/>
                      <a:pt x="153513" y="264752"/>
                      <a:pt x="202379" y="264752"/>
                    </a:cubicBezTo>
                    <a:close/>
                    <a:moveTo>
                      <a:pt x="328704" y="241209"/>
                    </a:moveTo>
                    <a:lnTo>
                      <a:pt x="403863" y="241209"/>
                    </a:lnTo>
                    <a:cubicBezTo>
                      <a:pt x="452740" y="241209"/>
                      <a:pt x="492856" y="280817"/>
                      <a:pt x="492856" y="329637"/>
                    </a:cubicBezTo>
                    <a:cubicBezTo>
                      <a:pt x="492856" y="378456"/>
                      <a:pt x="452740" y="418525"/>
                      <a:pt x="403863" y="418525"/>
                    </a:cubicBezTo>
                    <a:lnTo>
                      <a:pt x="328704" y="418525"/>
                    </a:lnTo>
                    <a:cubicBezTo>
                      <a:pt x="325937" y="418525"/>
                      <a:pt x="323170" y="418064"/>
                      <a:pt x="320404" y="418064"/>
                    </a:cubicBezTo>
                    <a:lnTo>
                      <a:pt x="316715" y="417604"/>
                    </a:lnTo>
                    <a:cubicBezTo>
                      <a:pt x="265994" y="411617"/>
                      <a:pt x="240172" y="364639"/>
                      <a:pt x="240172" y="332861"/>
                    </a:cubicBezTo>
                    <a:lnTo>
                      <a:pt x="277521" y="332861"/>
                    </a:lnTo>
                    <a:cubicBezTo>
                      <a:pt x="284438" y="332861"/>
                      <a:pt x="291815" y="336085"/>
                      <a:pt x="294582" y="342532"/>
                    </a:cubicBezTo>
                    <a:cubicBezTo>
                      <a:pt x="305649" y="366482"/>
                      <a:pt x="327320" y="366021"/>
                      <a:pt x="328704" y="366021"/>
                    </a:cubicBezTo>
                    <a:lnTo>
                      <a:pt x="383114" y="366021"/>
                    </a:lnTo>
                    <a:lnTo>
                      <a:pt x="403863" y="366021"/>
                    </a:lnTo>
                    <a:cubicBezTo>
                      <a:pt x="424152" y="366021"/>
                      <a:pt x="440290" y="349901"/>
                      <a:pt x="440290" y="329637"/>
                    </a:cubicBezTo>
                    <a:cubicBezTo>
                      <a:pt x="440290" y="309833"/>
                      <a:pt x="424152" y="293252"/>
                      <a:pt x="403863" y="293252"/>
                    </a:cubicBezTo>
                    <a:lnTo>
                      <a:pt x="364208" y="293252"/>
                    </a:lnTo>
                    <a:cubicBezTo>
                      <a:pt x="347609" y="269764"/>
                      <a:pt x="321787" y="253184"/>
                      <a:pt x="291815" y="249499"/>
                    </a:cubicBezTo>
                    <a:cubicBezTo>
                      <a:pt x="303343" y="243972"/>
                      <a:pt x="315793" y="241209"/>
                      <a:pt x="328704" y="241209"/>
                    </a:cubicBezTo>
                    <a:close/>
                    <a:moveTo>
                      <a:pt x="260025" y="0"/>
                    </a:moveTo>
                    <a:cubicBezTo>
                      <a:pt x="292758" y="0"/>
                      <a:pt x="323648" y="10589"/>
                      <a:pt x="349466" y="29925"/>
                    </a:cubicBezTo>
                    <a:cubicBezTo>
                      <a:pt x="352232" y="32227"/>
                      <a:pt x="355920" y="33148"/>
                      <a:pt x="360069" y="33148"/>
                    </a:cubicBezTo>
                    <a:cubicBezTo>
                      <a:pt x="362375" y="32687"/>
                      <a:pt x="365141" y="32687"/>
                      <a:pt x="367446" y="32687"/>
                    </a:cubicBezTo>
                    <a:cubicBezTo>
                      <a:pt x="409861" y="32687"/>
                      <a:pt x="449511" y="53405"/>
                      <a:pt x="473945" y="86553"/>
                    </a:cubicBezTo>
                    <a:cubicBezTo>
                      <a:pt x="476712" y="90236"/>
                      <a:pt x="480861" y="92538"/>
                      <a:pt x="485471" y="92998"/>
                    </a:cubicBezTo>
                    <a:cubicBezTo>
                      <a:pt x="553244" y="98523"/>
                      <a:pt x="606724" y="155611"/>
                      <a:pt x="606724" y="224669"/>
                    </a:cubicBezTo>
                    <a:cubicBezTo>
                      <a:pt x="606724" y="282678"/>
                      <a:pt x="568919" y="331939"/>
                      <a:pt x="516822" y="349894"/>
                    </a:cubicBezTo>
                    <a:cubicBezTo>
                      <a:pt x="518205" y="343449"/>
                      <a:pt x="518666" y="336543"/>
                      <a:pt x="518666" y="329637"/>
                    </a:cubicBezTo>
                    <a:cubicBezTo>
                      <a:pt x="518666" y="317667"/>
                      <a:pt x="516822" y="305697"/>
                      <a:pt x="513134" y="294648"/>
                    </a:cubicBezTo>
                    <a:cubicBezTo>
                      <a:pt x="537569" y="280836"/>
                      <a:pt x="554166" y="254594"/>
                      <a:pt x="554166" y="224669"/>
                    </a:cubicBezTo>
                    <a:cubicBezTo>
                      <a:pt x="554166" y="180472"/>
                      <a:pt x="518205" y="144561"/>
                      <a:pt x="473945" y="144561"/>
                    </a:cubicBezTo>
                    <a:cubicBezTo>
                      <a:pt x="471179" y="144561"/>
                      <a:pt x="468874" y="144561"/>
                      <a:pt x="466108" y="145022"/>
                    </a:cubicBezTo>
                    <a:cubicBezTo>
                      <a:pt x="455043" y="145943"/>
                      <a:pt x="444439" y="139958"/>
                      <a:pt x="439829" y="130289"/>
                    </a:cubicBezTo>
                    <a:cubicBezTo>
                      <a:pt x="426459" y="102206"/>
                      <a:pt x="398797" y="84711"/>
                      <a:pt x="367446" y="84711"/>
                    </a:cubicBezTo>
                    <a:cubicBezTo>
                      <a:pt x="361914" y="84711"/>
                      <a:pt x="356381" y="85632"/>
                      <a:pt x="351310" y="86553"/>
                    </a:cubicBezTo>
                    <a:cubicBezTo>
                      <a:pt x="342550" y="88394"/>
                      <a:pt x="333790" y="85632"/>
                      <a:pt x="327797" y="79647"/>
                    </a:cubicBezTo>
                    <a:cubicBezTo>
                      <a:pt x="309355" y="62152"/>
                      <a:pt x="285382" y="52024"/>
                      <a:pt x="260025" y="52024"/>
                    </a:cubicBezTo>
                    <a:cubicBezTo>
                      <a:pt x="215765" y="52024"/>
                      <a:pt x="177499" y="82409"/>
                      <a:pt x="166434" y="125225"/>
                    </a:cubicBezTo>
                    <a:cubicBezTo>
                      <a:pt x="163668" y="137656"/>
                      <a:pt x="151681" y="145943"/>
                      <a:pt x="139233" y="145022"/>
                    </a:cubicBezTo>
                    <a:cubicBezTo>
                      <a:pt x="136928" y="144561"/>
                      <a:pt x="134623" y="144561"/>
                      <a:pt x="132317" y="144561"/>
                    </a:cubicBezTo>
                    <a:cubicBezTo>
                      <a:pt x="88058" y="144561"/>
                      <a:pt x="52097" y="180472"/>
                      <a:pt x="52097" y="224669"/>
                    </a:cubicBezTo>
                    <a:cubicBezTo>
                      <a:pt x="52097" y="257817"/>
                      <a:pt x="72844" y="286361"/>
                      <a:pt x="101428" y="298791"/>
                    </a:cubicBezTo>
                    <a:cubicBezTo>
                      <a:pt x="93590" y="313523"/>
                      <a:pt x="88519" y="331018"/>
                      <a:pt x="88058" y="348973"/>
                    </a:cubicBezTo>
                    <a:cubicBezTo>
                      <a:pt x="36883" y="331018"/>
                      <a:pt x="0" y="282217"/>
                      <a:pt x="0" y="224669"/>
                    </a:cubicBezTo>
                    <a:cubicBezTo>
                      <a:pt x="0" y="157913"/>
                      <a:pt x="49331" y="102666"/>
                      <a:pt x="113876" y="93459"/>
                    </a:cubicBezTo>
                    <a:cubicBezTo>
                      <a:pt x="118947" y="92998"/>
                      <a:pt x="123558" y="89775"/>
                      <a:pt x="125863" y="84711"/>
                    </a:cubicBezTo>
                    <a:cubicBezTo>
                      <a:pt x="150298" y="33608"/>
                      <a:pt x="201934" y="0"/>
                      <a:pt x="260025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wrap="square" lIns="91440" tIns="45720" rIns="91440" bIns="45720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zh-CN" altLang="en-US"/>
              </a:p>
            </p:txBody>
          </p:sp>
          <p:grpSp>
            <p:nvGrpSpPr>
              <p:cNvPr id="24" name="组合 23"/>
              <p:cNvGrpSpPr/>
              <p:nvPr/>
            </p:nvGrpSpPr>
            <p:grpSpPr>
              <a:xfrm>
                <a:off x="2288159" y="3931892"/>
                <a:ext cx="1283398" cy="456589"/>
                <a:chOff x="256638" y="1008563"/>
                <a:chExt cx="2861266" cy="2143604"/>
              </a:xfrm>
            </p:grpSpPr>
            <p:pic>
              <p:nvPicPr>
                <p:cNvPr id="26" name="图片 25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56638" y="1008563"/>
                  <a:ext cx="2861266" cy="2143604"/>
                </a:xfrm>
                <a:prstGeom prst="rect">
                  <a:avLst/>
                </a:prstGeom>
              </p:spPr>
            </p:pic>
            <p:sp>
              <p:nvSpPr>
                <p:cNvPr id="27" name="文本框 26"/>
                <p:cNvSpPr txBox="1"/>
                <p:nvPr/>
              </p:nvSpPr>
              <p:spPr>
                <a:xfrm>
                  <a:off x="1414204" y="1775400"/>
                  <a:ext cx="825498" cy="72247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400" b="1" dirty="0" smtClean="0">
                      <a:solidFill>
                        <a:srgbClr val="EA5504"/>
                      </a:solidFill>
                      <a:latin typeface="+mj-ea"/>
                      <a:ea typeface="+mj-ea"/>
                    </a:rPr>
                    <a:t>RPA</a:t>
                  </a:r>
                  <a:endParaRPr lang="en-US" altLang="zh-CN" sz="500" b="1" dirty="0" smtClean="0">
                    <a:solidFill>
                      <a:srgbClr val="EA5504"/>
                    </a:solidFill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25" name="文本框 24"/>
              <p:cNvSpPr txBox="1"/>
              <p:nvPr/>
            </p:nvSpPr>
            <p:spPr bwMode="auto">
              <a:xfrm>
                <a:off x="3107737" y="4062244"/>
                <a:ext cx="1430039" cy="2833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tlCol="0">
                <a:spAutoFit/>
              </a:bodyPr>
              <a:lstStyle/>
              <a:p>
                <a:pPr eaLnBrk="1" hangingPunct="1"/>
                <a:r>
                  <a:rPr lang="en-US" altLang="zh-CN" sz="8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RPA</a:t>
                </a:r>
                <a:r>
                  <a:rPr lang="zh-CN" altLang="en-US" sz="8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机器人可实现</a:t>
                </a:r>
                <a:r>
                  <a:rPr lang="en-US" altLang="zh-CN" sz="8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7*24</a:t>
                </a:r>
                <a:r>
                  <a:rPr lang="zh-CN" altLang="en-US" sz="800" dirty="0" smtClean="0">
                    <a:latin typeface="楷体" panose="02010609060101010101" pitchFamily="49" charset="-122"/>
                    <a:ea typeface="楷体" panose="02010609060101010101" pitchFamily="49" charset="-122"/>
                  </a:rPr>
                  <a:t>小时作业</a:t>
                </a:r>
                <a:endParaRPr lang="zh-CN" altLang="en-US" sz="800" dirty="0">
                  <a:latin typeface="楷体" panose="02010609060101010101" pitchFamily="49" charset="-122"/>
                  <a:ea typeface="楷体" panose="02010609060101010101" pitchFamily="49" charset="-122"/>
                </a:endParaRPr>
              </a:p>
            </p:txBody>
          </p:sp>
        </p:grpSp>
        <p:sp>
          <p:nvSpPr>
            <p:cNvPr id="15" name="文本框 14"/>
            <p:cNvSpPr txBox="1"/>
            <p:nvPr/>
          </p:nvSpPr>
          <p:spPr>
            <a:xfrm>
              <a:off x="73747" y="4057070"/>
              <a:ext cx="4235406" cy="48241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105750"/>
              <a:r>
                <a:rPr lang="en-US" altLang="zh-CN" sz="1600" b="1" dirty="0" smtClean="0"/>
                <a:t>1</a:t>
              </a:r>
              <a:r>
                <a:rPr lang="zh-CN" altLang="en-US" sz="1600" b="1" dirty="0" smtClean="0"/>
                <a:t>个调度平台</a:t>
              </a:r>
              <a:r>
                <a:rPr lang="en-US" altLang="zh-CN" sz="1600" b="1" dirty="0" smtClean="0"/>
                <a:t>+</a:t>
              </a:r>
              <a:r>
                <a:rPr lang="zh-CN" altLang="en-US" sz="1600" b="1" dirty="0" smtClean="0"/>
                <a:t>多个集成设备</a:t>
              </a:r>
              <a:r>
                <a:rPr lang="en-US" altLang="zh-CN" sz="1600" b="1" dirty="0" smtClean="0"/>
                <a:t>+</a:t>
              </a:r>
              <a:r>
                <a:rPr lang="zh-CN" altLang="en-US" sz="1600" b="1" dirty="0"/>
                <a:t>多个</a:t>
              </a:r>
              <a:r>
                <a:rPr lang="zh-CN" altLang="en-US" sz="1600" b="1" dirty="0" smtClean="0"/>
                <a:t>云服务器</a:t>
              </a:r>
            </a:p>
          </p:txBody>
        </p:sp>
      </p:grpSp>
      <p:sp>
        <p:nvSpPr>
          <p:cNvPr id="65" name="文本框 64"/>
          <p:cNvSpPr txBox="1"/>
          <p:nvPr/>
        </p:nvSpPr>
        <p:spPr>
          <a:xfrm>
            <a:off x="7366034" y="2400316"/>
            <a:ext cx="1996645" cy="40519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sz="2200" b="1" dirty="0" smtClean="0">
                <a:solidFill>
                  <a:schemeClr val="accent1"/>
                </a:solidFill>
              </a:rPr>
              <a:t>风险隔离</a:t>
            </a:r>
          </a:p>
        </p:txBody>
      </p:sp>
      <p:sp>
        <p:nvSpPr>
          <p:cNvPr id="66" name="Freeform 147"/>
          <p:cNvSpPr>
            <a:spLocks noEditPoints="1"/>
          </p:cNvSpPr>
          <p:nvPr/>
        </p:nvSpPr>
        <p:spPr bwMode="auto">
          <a:xfrm>
            <a:off x="6440854" y="2313069"/>
            <a:ext cx="696883" cy="633685"/>
          </a:xfrm>
          <a:custGeom>
            <a:avLst/>
            <a:gdLst>
              <a:gd name="T0" fmla="*/ 2147483647 w 158"/>
              <a:gd name="T1" fmla="*/ 2147483647 h 150"/>
              <a:gd name="T2" fmla="*/ 2147483647 w 158"/>
              <a:gd name="T3" fmla="*/ 2147483647 h 150"/>
              <a:gd name="T4" fmla="*/ 2147483647 w 158"/>
              <a:gd name="T5" fmla="*/ 2147483647 h 150"/>
              <a:gd name="T6" fmla="*/ 2147483647 w 158"/>
              <a:gd name="T7" fmla="*/ 2147483647 h 150"/>
              <a:gd name="T8" fmla="*/ 2147483647 w 158"/>
              <a:gd name="T9" fmla="*/ 2147483647 h 150"/>
              <a:gd name="T10" fmla="*/ 2147483647 w 158"/>
              <a:gd name="T11" fmla="*/ 2147483647 h 150"/>
              <a:gd name="T12" fmla="*/ 2147483647 w 158"/>
              <a:gd name="T13" fmla="*/ 2147483647 h 150"/>
              <a:gd name="T14" fmla="*/ 2147483647 w 158"/>
              <a:gd name="T15" fmla="*/ 2147483647 h 150"/>
              <a:gd name="T16" fmla="*/ 2147483647 w 158"/>
              <a:gd name="T17" fmla="*/ 2147483647 h 150"/>
              <a:gd name="T18" fmla="*/ 2147483647 w 158"/>
              <a:gd name="T19" fmla="*/ 2147483647 h 150"/>
              <a:gd name="T20" fmla="*/ 2147483647 w 158"/>
              <a:gd name="T21" fmla="*/ 2147483647 h 150"/>
              <a:gd name="T22" fmla="*/ 2147483647 w 158"/>
              <a:gd name="T23" fmla="*/ 2147483647 h 150"/>
              <a:gd name="T24" fmla="*/ 2147483647 w 158"/>
              <a:gd name="T25" fmla="*/ 2147483647 h 150"/>
              <a:gd name="T26" fmla="*/ 2147483647 w 158"/>
              <a:gd name="T27" fmla="*/ 2147483647 h 150"/>
              <a:gd name="T28" fmla="*/ 2147483647 w 158"/>
              <a:gd name="T29" fmla="*/ 2147483647 h 150"/>
              <a:gd name="T30" fmla="*/ 2147483647 w 158"/>
              <a:gd name="T31" fmla="*/ 2147483647 h 150"/>
              <a:gd name="T32" fmla="*/ 2147483647 w 158"/>
              <a:gd name="T33" fmla="*/ 2147483647 h 150"/>
              <a:gd name="T34" fmla="*/ 2147483647 w 158"/>
              <a:gd name="T35" fmla="*/ 2147483647 h 150"/>
              <a:gd name="T36" fmla="*/ 2147483647 w 158"/>
              <a:gd name="T37" fmla="*/ 2147483647 h 150"/>
              <a:gd name="T38" fmla="*/ 2147483647 w 158"/>
              <a:gd name="T39" fmla="*/ 2147483647 h 150"/>
              <a:gd name="T40" fmla="*/ 0 w 158"/>
              <a:gd name="T41" fmla="*/ 2147483647 h 150"/>
              <a:gd name="T42" fmla="*/ 2147483647 w 158"/>
              <a:gd name="T43" fmla="*/ 2147483647 h 150"/>
              <a:gd name="T44" fmla="*/ 2147483647 w 158"/>
              <a:gd name="T45" fmla="*/ 2147483647 h 150"/>
              <a:gd name="T46" fmla="*/ 2147483647 w 158"/>
              <a:gd name="T47" fmla="*/ 0 h 150"/>
              <a:gd name="T48" fmla="*/ 2147483647 w 158"/>
              <a:gd name="T49" fmla="*/ 2147483647 h 150"/>
              <a:gd name="T50" fmla="*/ 2147483647 w 158"/>
              <a:gd name="T51" fmla="*/ 2147483647 h 150"/>
              <a:gd name="T52" fmla="*/ 2147483647 w 158"/>
              <a:gd name="T53" fmla="*/ 2147483647 h 150"/>
              <a:gd name="T54" fmla="*/ 2147483647 w 158"/>
              <a:gd name="T55" fmla="*/ 2147483647 h 150"/>
              <a:gd name="T56" fmla="*/ 2147483647 w 158"/>
              <a:gd name="T57" fmla="*/ 2147483647 h 150"/>
              <a:gd name="T58" fmla="*/ 2147483647 w 158"/>
              <a:gd name="T59" fmla="*/ 2147483647 h 150"/>
              <a:gd name="T60" fmla="*/ 2147483647 w 158"/>
              <a:gd name="T61" fmla="*/ 2147483647 h 150"/>
              <a:gd name="T62" fmla="*/ 2147483647 w 158"/>
              <a:gd name="T63" fmla="*/ 2147483647 h 150"/>
              <a:gd name="T64" fmla="*/ 2147483647 w 158"/>
              <a:gd name="T65" fmla="*/ 2147483647 h 150"/>
              <a:gd name="T66" fmla="*/ 2147483647 w 158"/>
              <a:gd name="T67" fmla="*/ 2147483647 h 150"/>
              <a:gd name="T68" fmla="*/ 2147483647 w 158"/>
              <a:gd name="T69" fmla="*/ 2147483647 h 150"/>
              <a:gd name="T70" fmla="*/ 2147483647 w 158"/>
              <a:gd name="T71" fmla="*/ 2147483647 h 150"/>
              <a:gd name="T72" fmla="*/ 2147483647 w 158"/>
              <a:gd name="T73" fmla="*/ 2147483647 h 150"/>
              <a:gd name="T74" fmla="*/ 2147483647 w 158"/>
              <a:gd name="T75" fmla="*/ 2147483647 h 150"/>
              <a:gd name="T76" fmla="*/ 2147483647 w 158"/>
              <a:gd name="T77" fmla="*/ 2147483647 h 150"/>
              <a:gd name="T78" fmla="*/ 2147483647 w 158"/>
              <a:gd name="T79" fmla="*/ 2147483647 h 150"/>
              <a:gd name="T80" fmla="*/ 2147483647 w 158"/>
              <a:gd name="T81" fmla="*/ 2147483647 h 150"/>
              <a:gd name="T82" fmla="*/ 2147483647 w 158"/>
              <a:gd name="T83" fmla="*/ 2147483647 h 150"/>
              <a:gd name="T84" fmla="*/ 2147483647 w 158"/>
              <a:gd name="T85" fmla="*/ 2147483647 h 150"/>
              <a:gd name="T86" fmla="*/ 2147483647 w 158"/>
              <a:gd name="T87" fmla="*/ 2147483647 h 150"/>
              <a:gd name="T88" fmla="*/ 2147483647 w 158"/>
              <a:gd name="T89" fmla="*/ 2147483647 h 150"/>
              <a:gd name="T90" fmla="*/ 2147483647 w 158"/>
              <a:gd name="T91" fmla="*/ 2147483647 h 150"/>
              <a:gd name="T92" fmla="*/ 2147483647 w 158"/>
              <a:gd name="T93" fmla="*/ 2147483647 h 150"/>
              <a:gd name="T94" fmla="*/ 2147483647 w 158"/>
              <a:gd name="T95" fmla="*/ 2147483647 h 150"/>
              <a:gd name="T96" fmla="*/ 2147483647 w 158"/>
              <a:gd name="T97" fmla="*/ 2147483647 h 150"/>
              <a:gd name="T98" fmla="*/ 2147483647 w 158"/>
              <a:gd name="T99" fmla="*/ 2147483647 h 150"/>
              <a:gd name="T100" fmla="*/ 2147483647 w 158"/>
              <a:gd name="T101" fmla="*/ 2147483647 h 150"/>
              <a:gd name="T102" fmla="*/ 2147483647 w 158"/>
              <a:gd name="T103" fmla="*/ 2147483647 h 150"/>
              <a:gd name="T104" fmla="*/ 2147483647 w 158"/>
              <a:gd name="T105" fmla="*/ 2147483647 h 15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58" h="150">
                <a:moveTo>
                  <a:pt x="76" y="0"/>
                </a:moveTo>
                <a:lnTo>
                  <a:pt x="76" y="0"/>
                </a:lnTo>
                <a:lnTo>
                  <a:pt x="90" y="2"/>
                </a:lnTo>
                <a:lnTo>
                  <a:pt x="104" y="6"/>
                </a:lnTo>
                <a:lnTo>
                  <a:pt x="116" y="12"/>
                </a:lnTo>
                <a:lnTo>
                  <a:pt x="128" y="22"/>
                </a:lnTo>
                <a:lnTo>
                  <a:pt x="136" y="32"/>
                </a:lnTo>
                <a:lnTo>
                  <a:pt x="144" y="46"/>
                </a:lnTo>
                <a:lnTo>
                  <a:pt x="124" y="46"/>
                </a:lnTo>
                <a:lnTo>
                  <a:pt x="114" y="34"/>
                </a:lnTo>
                <a:lnTo>
                  <a:pt x="106" y="28"/>
                </a:lnTo>
                <a:lnTo>
                  <a:pt x="96" y="22"/>
                </a:lnTo>
                <a:lnTo>
                  <a:pt x="86" y="20"/>
                </a:lnTo>
                <a:lnTo>
                  <a:pt x="76" y="18"/>
                </a:lnTo>
                <a:lnTo>
                  <a:pt x="64" y="20"/>
                </a:lnTo>
                <a:lnTo>
                  <a:pt x="54" y="22"/>
                </a:lnTo>
                <a:lnTo>
                  <a:pt x="44" y="28"/>
                </a:lnTo>
                <a:lnTo>
                  <a:pt x="36" y="34"/>
                </a:lnTo>
                <a:lnTo>
                  <a:pt x="28" y="44"/>
                </a:lnTo>
                <a:lnTo>
                  <a:pt x="24" y="52"/>
                </a:lnTo>
                <a:lnTo>
                  <a:pt x="20" y="64"/>
                </a:lnTo>
                <a:lnTo>
                  <a:pt x="18" y="74"/>
                </a:lnTo>
                <a:lnTo>
                  <a:pt x="20" y="86"/>
                </a:lnTo>
                <a:lnTo>
                  <a:pt x="24" y="96"/>
                </a:lnTo>
                <a:lnTo>
                  <a:pt x="28" y="106"/>
                </a:lnTo>
                <a:lnTo>
                  <a:pt x="36" y="114"/>
                </a:lnTo>
                <a:lnTo>
                  <a:pt x="44" y="122"/>
                </a:lnTo>
                <a:lnTo>
                  <a:pt x="54" y="126"/>
                </a:lnTo>
                <a:lnTo>
                  <a:pt x="64" y="130"/>
                </a:lnTo>
                <a:lnTo>
                  <a:pt x="76" y="132"/>
                </a:lnTo>
                <a:lnTo>
                  <a:pt x="86" y="130"/>
                </a:lnTo>
                <a:lnTo>
                  <a:pt x="96" y="126"/>
                </a:lnTo>
                <a:lnTo>
                  <a:pt x="106" y="122"/>
                </a:lnTo>
                <a:lnTo>
                  <a:pt x="114" y="114"/>
                </a:lnTo>
                <a:lnTo>
                  <a:pt x="116" y="112"/>
                </a:lnTo>
                <a:lnTo>
                  <a:pt x="140" y="112"/>
                </a:lnTo>
                <a:lnTo>
                  <a:pt x="128" y="128"/>
                </a:lnTo>
                <a:lnTo>
                  <a:pt x="116" y="136"/>
                </a:lnTo>
                <a:lnTo>
                  <a:pt x="104" y="144"/>
                </a:lnTo>
                <a:lnTo>
                  <a:pt x="90" y="148"/>
                </a:lnTo>
                <a:lnTo>
                  <a:pt x="76" y="150"/>
                </a:lnTo>
                <a:lnTo>
                  <a:pt x="60" y="148"/>
                </a:lnTo>
                <a:lnTo>
                  <a:pt x="46" y="144"/>
                </a:lnTo>
                <a:lnTo>
                  <a:pt x="34" y="136"/>
                </a:lnTo>
                <a:lnTo>
                  <a:pt x="22" y="128"/>
                </a:lnTo>
                <a:lnTo>
                  <a:pt x="14" y="116"/>
                </a:lnTo>
                <a:lnTo>
                  <a:pt x="6" y="104"/>
                </a:lnTo>
                <a:lnTo>
                  <a:pt x="2" y="90"/>
                </a:lnTo>
                <a:lnTo>
                  <a:pt x="0" y="74"/>
                </a:lnTo>
                <a:lnTo>
                  <a:pt x="2" y="60"/>
                </a:lnTo>
                <a:lnTo>
                  <a:pt x="6" y="46"/>
                </a:lnTo>
                <a:lnTo>
                  <a:pt x="14" y="32"/>
                </a:lnTo>
                <a:lnTo>
                  <a:pt x="22" y="22"/>
                </a:lnTo>
                <a:lnTo>
                  <a:pt x="34" y="12"/>
                </a:lnTo>
                <a:lnTo>
                  <a:pt x="46" y="6"/>
                </a:lnTo>
                <a:lnTo>
                  <a:pt x="60" y="2"/>
                </a:lnTo>
                <a:lnTo>
                  <a:pt x="76" y="0"/>
                </a:lnTo>
                <a:close/>
                <a:moveTo>
                  <a:pt x="58" y="52"/>
                </a:moveTo>
                <a:lnTo>
                  <a:pt x="52" y="58"/>
                </a:lnTo>
                <a:lnTo>
                  <a:pt x="68" y="74"/>
                </a:lnTo>
                <a:lnTo>
                  <a:pt x="68" y="76"/>
                </a:lnTo>
                <a:lnTo>
                  <a:pt x="70" y="80"/>
                </a:lnTo>
                <a:lnTo>
                  <a:pt x="64" y="84"/>
                </a:lnTo>
                <a:lnTo>
                  <a:pt x="68" y="86"/>
                </a:lnTo>
                <a:lnTo>
                  <a:pt x="72" y="82"/>
                </a:lnTo>
                <a:lnTo>
                  <a:pt x="76" y="82"/>
                </a:lnTo>
                <a:lnTo>
                  <a:pt x="78" y="82"/>
                </a:lnTo>
                <a:lnTo>
                  <a:pt x="80" y="84"/>
                </a:lnTo>
                <a:lnTo>
                  <a:pt x="86" y="78"/>
                </a:lnTo>
                <a:lnTo>
                  <a:pt x="84" y="76"/>
                </a:lnTo>
                <a:lnTo>
                  <a:pt x="84" y="74"/>
                </a:lnTo>
                <a:lnTo>
                  <a:pt x="82" y="70"/>
                </a:lnTo>
                <a:lnTo>
                  <a:pt x="98" y="50"/>
                </a:lnTo>
                <a:lnTo>
                  <a:pt x="96" y="48"/>
                </a:lnTo>
                <a:lnTo>
                  <a:pt x="78" y="68"/>
                </a:lnTo>
                <a:lnTo>
                  <a:pt x="76" y="68"/>
                </a:lnTo>
                <a:lnTo>
                  <a:pt x="74" y="68"/>
                </a:lnTo>
                <a:lnTo>
                  <a:pt x="58" y="52"/>
                </a:lnTo>
                <a:close/>
                <a:moveTo>
                  <a:pt x="158" y="54"/>
                </a:moveTo>
                <a:lnTo>
                  <a:pt x="142" y="54"/>
                </a:lnTo>
                <a:lnTo>
                  <a:pt x="126" y="88"/>
                </a:lnTo>
                <a:lnTo>
                  <a:pt x="126" y="96"/>
                </a:lnTo>
                <a:lnTo>
                  <a:pt x="140" y="96"/>
                </a:lnTo>
                <a:lnTo>
                  <a:pt x="140" y="106"/>
                </a:lnTo>
                <a:lnTo>
                  <a:pt x="154" y="106"/>
                </a:lnTo>
                <a:lnTo>
                  <a:pt x="154" y="96"/>
                </a:lnTo>
                <a:lnTo>
                  <a:pt x="158" y="96"/>
                </a:lnTo>
                <a:lnTo>
                  <a:pt x="158" y="88"/>
                </a:lnTo>
                <a:lnTo>
                  <a:pt x="156" y="88"/>
                </a:lnTo>
                <a:lnTo>
                  <a:pt x="158" y="54"/>
                </a:lnTo>
                <a:close/>
                <a:moveTo>
                  <a:pt x="142" y="88"/>
                </a:moveTo>
                <a:lnTo>
                  <a:pt x="144" y="66"/>
                </a:lnTo>
                <a:lnTo>
                  <a:pt x="136" y="88"/>
                </a:lnTo>
                <a:lnTo>
                  <a:pt x="142" y="88"/>
                </a:lnTo>
                <a:close/>
                <a:moveTo>
                  <a:pt x="124" y="96"/>
                </a:moveTo>
                <a:lnTo>
                  <a:pt x="110" y="96"/>
                </a:lnTo>
                <a:lnTo>
                  <a:pt x="124" y="76"/>
                </a:lnTo>
                <a:lnTo>
                  <a:pt x="128" y="66"/>
                </a:lnTo>
                <a:lnTo>
                  <a:pt x="128" y="60"/>
                </a:lnTo>
                <a:lnTo>
                  <a:pt x="126" y="56"/>
                </a:lnTo>
                <a:lnTo>
                  <a:pt x="120" y="54"/>
                </a:lnTo>
                <a:lnTo>
                  <a:pt x="114" y="52"/>
                </a:lnTo>
                <a:lnTo>
                  <a:pt x="106" y="54"/>
                </a:lnTo>
                <a:lnTo>
                  <a:pt x="102" y="58"/>
                </a:lnTo>
                <a:lnTo>
                  <a:pt x="98" y="62"/>
                </a:lnTo>
                <a:lnTo>
                  <a:pt x="98" y="70"/>
                </a:lnTo>
                <a:lnTo>
                  <a:pt x="98" y="72"/>
                </a:lnTo>
                <a:lnTo>
                  <a:pt x="110" y="72"/>
                </a:lnTo>
                <a:lnTo>
                  <a:pt x="110" y="66"/>
                </a:lnTo>
                <a:lnTo>
                  <a:pt x="110" y="62"/>
                </a:lnTo>
                <a:lnTo>
                  <a:pt x="114" y="60"/>
                </a:lnTo>
                <a:lnTo>
                  <a:pt x="116" y="62"/>
                </a:lnTo>
                <a:lnTo>
                  <a:pt x="116" y="64"/>
                </a:lnTo>
                <a:lnTo>
                  <a:pt x="112" y="72"/>
                </a:lnTo>
                <a:lnTo>
                  <a:pt x="94" y="98"/>
                </a:lnTo>
                <a:lnTo>
                  <a:pt x="94" y="106"/>
                </a:lnTo>
                <a:lnTo>
                  <a:pt x="122" y="106"/>
                </a:lnTo>
                <a:lnTo>
                  <a:pt x="124" y="96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xtLst/>
        </p:spPr>
        <p:txBody>
          <a:bodyPr/>
          <a:lstStyle/>
          <a:p>
            <a:endParaRPr lang="zh-CN" altLang="en-US" sz="1400">
              <a:solidFill>
                <a:schemeClr val="accent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6516070" y="4703596"/>
            <a:ext cx="744427" cy="575812"/>
            <a:chOff x="5300133" y="3910541"/>
            <a:chExt cx="710180" cy="535515"/>
          </a:xfrm>
          <a:solidFill>
            <a:srgbClr val="F05A23"/>
          </a:solidFill>
        </p:grpSpPr>
        <p:sp>
          <p:nvSpPr>
            <p:cNvPr id="79" name="Freeform 141"/>
            <p:cNvSpPr/>
            <p:nvPr/>
          </p:nvSpPr>
          <p:spPr bwMode="auto">
            <a:xfrm>
              <a:off x="5507567" y="3930651"/>
              <a:ext cx="169333" cy="124883"/>
            </a:xfrm>
            <a:custGeom>
              <a:avLst/>
              <a:gdLst>
                <a:gd name="T0" fmla="*/ 51 w 56"/>
                <a:gd name="T1" fmla="*/ 0 h 41"/>
                <a:gd name="T2" fmla="*/ 4 w 56"/>
                <a:gd name="T3" fmla="*/ 0 h 41"/>
                <a:gd name="T4" fmla="*/ 0 w 56"/>
                <a:gd name="T5" fmla="*/ 5 h 41"/>
                <a:gd name="T6" fmla="*/ 0 w 56"/>
                <a:gd name="T7" fmla="*/ 36 h 41"/>
                <a:gd name="T8" fmla="*/ 4 w 56"/>
                <a:gd name="T9" fmla="*/ 41 h 41"/>
                <a:gd name="T10" fmla="*/ 51 w 56"/>
                <a:gd name="T11" fmla="*/ 41 h 41"/>
                <a:gd name="T12" fmla="*/ 56 w 56"/>
                <a:gd name="T13" fmla="*/ 36 h 41"/>
                <a:gd name="T14" fmla="*/ 56 w 56"/>
                <a:gd name="T15" fmla="*/ 5 h 41"/>
                <a:gd name="T16" fmla="*/ 51 w 56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1">
                  <a:moveTo>
                    <a:pt x="5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4" y="41"/>
                    <a:pt x="56" y="39"/>
                    <a:pt x="56" y="3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4" y="0"/>
                    <a:pt x="5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0" name="Freeform 142"/>
            <p:cNvSpPr/>
            <p:nvPr/>
          </p:nvSpPr>
          <p:spPr bwMode="auto">
            <a:xfrm>
              <a:off x="5490633" y="4116917"/>
              <a:ext cx="23284" cy="10583"/>
            </a:xfrm>
            <a:custGeom>
              <a:avLst/>
              <a:gdLst>
                <a:gd name="T0" fmla="*/ 6 w 8"/>
                <a:gd name="T1" fmla="*/ 0 h 3"/>
                <a:gd name="T2" fmla="*/ 1 w 8"/>
                <a:gd name="T3" fmla="*/ 0 h 3"/>
                <a:gd name="T4" fmla="*/ 0 w 8"/>
                <a:gd name="T5" fmla="*/ 1 h 3"/>
                <a:gd name="T6" fmla="*/ 1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1" name="Freeform 143"/>
            <p:cNvSpPr/>
            <p:nvPr/>
          </p:nvSpPr>
          <p:spPr bwMode="auto">
            <a:xfrm>
              <a:off x="5526617" y="4116917"/>
              <a:ext cx="23283" cy="10583"/>
            </a:xfrm>
            <a:custGeom>
              <a:avLst/>
              <a:gdLst>
                <a:gd name="T0" fmla="*/ 6 w 8"/>
                <a:gd name="T1" fmla="*/ 0 h 3"/>
                <a:gd name="T2" fmla="*/ 1 w 8"/>
                <a:gd name="T3" fmla="*/ 0 h 3"/>
                <a:gd name="T4" fmla="*/ 0 w 8"/>
                <a:gd name="T5" fmla="*/ 1 h 3"/>
                <a:gd name="T6" fmla="*/ 1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2" name="Freeform 144"/>
            <p:cNvSpPr/>
            <p:nvPr/>
          </p:nvSpPr>
          <p:spPr bwMode="auto">
            <a:xfrm>
              <a:off x="5562600" y="4116917"/>
              <a:ext cx="23284" cy="10583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1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3" name="Freeform 145"/>
            <p:cNvSpPr/>
            <p:nvPr/>
          </p:nvSpPr>
          <p:spPr bwMode="auto">
            <a:xfrm>
              <a:off x="5598584" y="4116917"/>
              <a:ext cx="23283" cy="10583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1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4" name="Freeform 146"/>
            <p:cNvSpPr/>
            <p:nvPr/>
          </p:nvSpPr>
          <p:spPr bwMode="auto">
            <a:xfrm>
              <a:off x="5634567" y="4116917"/>
              <a:ext cx="23284" cy="10583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1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5" name="Freeform 147"/>
            <p:cNvSpPr/>
            <p:nvPr/>
          </p:nvSpPr>
          <p:spPr bwMode="auto">
            <a:xfrm>
              <a:off x="5670551" y="4116917"/>
              <a:ext cx="23283" cy="10583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1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1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1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6" name="Freeform 148"/>
            <p:cNvSpPr/>
            <p:nvPr/>
          </p:nvSpPr>
          <p:spPr bwMode="auto">
            <a:xfrm>
              <a:off x="5507567" y="4106333"/>
              <a:ext cx="25400" cy="6351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1 w 8"/>
                <a:gd name="T9" fmla="*/ 0 h 2"/>
                <a:gd name="T10" fmla="*/ 0 w 8"/>
                <a:gd name="T11" fmla="*/ 1 h 2"/>
                <a:gd name="T12" fmla="*/ 1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7" name="Freeform 149"/>
            <p:cNvSpPr/>
            <p:nvPr/>
          </p:nvSpPr>
          <p:spPr bwMode="auto">
            <a:xfrm>
              <a:off x="5543551" y="4106333"/>
              <a:ext cx="25400" cy="6351"/>
            </a:xfrm>
            <a:custGeom>
              <a:avLst/>
              <a:gdLst>
                <a:gd name="T0" fmla="*/ 1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1 w 8"/>
                <a:gd name="T9" fmla="*/ 0 h 2"/>
                <a:gd name="T10" fmla="*/ 0 w 8"/>
                <a:gd name="T11" fmla="*/ 1 h 2"/>
                <a:gd name="T12" fmla="*/ 1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1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8" name="Freeform 150"/>
            <p:cNvSpPr/>
            <p:nvPr/>
          </p:nvSpPr>
          <p:spPr bwMode="auto">
            <a:xfrm>
              <a:off x="5579533" y="4106333"/>
              <a:ext cx="25400" cy="6351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89" name="Freeform 151"/>
            <p:cNvSpPr/>
            <p:nvPr/>
          </p:nvSpPr>
          <p:spPr bwMode="auto">
            <a:xfrm>
              <a:off x="5615517" y="4106333"/>
              <a:ext cx="25400" cy="6351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0" name="Freeform 152"/>
            <p:cNvSpPr/>
            <p:nvPr/>
          </p:nvSpPr>
          <p:spPr bwMode="auto">
            <a:xfrm>
              <a:off x="5651500" y="4106333"/>
              <a:ext cx="25400" cy="6351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1" name="Freeform 153"/>
            <p:cNvSpPr/>
            <p:nvPr/>
          </p:nvSpPr>
          <p:spPr bwMode="auto">
            <a:xfrm>
              <a:off x="5355167" y="4178300"/>
              <a:ext cx="167217" cy="120651"/>
            </a:xfrm>
            <a:custGeom>
              <a:avLst/>
              <a:gdLst>
                <a:gd name="T0" fmla="*/ 52 w 56"/>
                <a:gd name="T1" fmla="*/ 0 h 40"/>
                <a:gd name="T2" fmla="*/ 4 w 56"/>
                <a:gd name="T3" fmla="*/ 0 h 40"/>
                <a:gd name="T4" fmla="*/ 0 w 56"/>
                <a:gd name="T5" fmla="*/ 4 h 40"/>
                <a:gd name="T6" fmla="*/ 0 w 56"/>
                <a:gd name="T7" fmla="*/ 36 h 40"/>
                <a:gd name="T8" fmla="*/ 4 w 56"/>
                <a:gd name="T9" fmla="*/ 40 h 40"/>
                <a:gd name="T10" fmla="*/ 52 w 56"/>
                <a:gd name="T11" fmla="*/ 40 h 40"/>
                <a:gd name="T12" fmla="*/ 56 w 56"/>
                <a:gd name="T13" fmla="*/ 36 h 40"/>
                <a:gd name="T14" fmla="*/ 56 w 56"/>
                <a:gd name="T15" fmla="*/ 4 h 40"/>
                <a:gd name="T16" fmla="*/ 52 w 56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0">
                  <a:moveTo>
                    <a:pt x="5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4" y="40"/>
                    <a:pt x="56" y="38"/>
                    <a:pt x="56" y="36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2"/>
                    <a:pt x="54" y="0"/>
                    <a:pt x="5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2" name="Freeform 154"/>
            <p:cNvSpPr>
              <a:spLocks noEditPoints="1"/>
            </p:cNvSpPr>
            <p:nvPr/>
          </p:nvSpPr>
          <p:spPr bwMode="auto">
            <a:xfrm>
              <a:off x="5300133" y="4159251"/>
              <a:ext cx="277284" cy="228600"/>
            </a:xfrm>
            <a:custGeom>
              <a:avLst/>
              <a:gdLst>
                <a:gd name="T0" fmla="*/ 89 w 92"/>
                <a:gd name="T1" fmla="*/ 66 h 76"/>
                <a:gd name="T2" fmla="*/ 85 w 92"/>
                <a:gd name="T3" fmla="*/ 61 h 76"/>
                <a:gd name="T4" fmla="*/ 82 w 92"/>
                <a:gd name="T5" fmla="*/ 61 h 76"/>
                <a:gd name="T6" fmla="*/ 79 w 92"/>
                <a:gd name="T7" fmla="*/ 55 h 76"/>
                <a:gd name="T8" fmla="*/ 69 w 92"/>
                <a:gd name="T9" fmla="*/ 55 h 76"/>
                <a:gd name="T10" fmla="*/ 69 w 92"/>
                <a:gd name="T11" fmla="*/ 52 h 76"/>
                <a:gd name="T12" fmla="*/ 75 w 92"/>
                <a:gd name="T13" fmla="*/ 52 h 76"/>
                <a:gd name="T14" fmla="*/ 80 w 92"/>
                <a:gd name="T15" fmla="*/ 48 h 76"/>
                <a:gd name="T16" fmla="*/ 80 w 92"/>
                <a:gd name="T17" fmla="*/ 4 h 76"/>
                <a:gd name="T18" fmla="*/ 75 w 92"/>
                <a:gd name="T19" fmla="*/ 0 h 76"/>
                <a:gd name="T20" fmla="*/ 17 w 92"/>
                <a:gd name="T21" fmla="*/ 0 h 76"/>
                <a:gd name="T22" fmla="*/ 12 w 92"/>
                <a:gd name="T23" fmla="*/ 4 h 76"/>
                <a:gd name="T24" fmla="*/ 12 w 92"/>
                <a:gd name="T25" fmla="*/ 48 h 76"/>
                <a:gd name="T26" fmla="*/ 17 w 92"/>
                <a:gd name="T27" fmla="*/ 52 h 76"/>
                <a:gd name="T28" fmla="*/ 23 w 92"/>
                <a:gd name="T29" fmla="*/ 52 h 76"/>
                <a:gd name="T30" fmla="*/ 23 w 92"/>
                <a:gd name="T31" fmla="*/ 55 h 76"/>
                <a:gd name="T32" fmla="*/ 13 w 92"/>
                <a:gd name="T33" fmla="*/ 55 h 76"/>
                <a:gd name="T34" fmla="*/ 10 w 92"/>
                <a:gd name="T35" fmla="*/ 61 h 76"/>
                <a:gd name="T36" fmla="*/ 7 w 92"/>
                <a:gd name="T37" fmla="*/ 61 h 76"/>
                <a:gd name="T38" fmla="*/ 3 w 92"/>
                <a:gd name="T39" fmla="*/ 66 h 76"/>
                <a:gd name="T40" fmla="*/ 0 w 92"/>
                <a:gd name="T41" fmla="*/ 72 h 76"/>
                <a:gd name="T42" fmla="*/ 4 w 92"/>
                <a:gd name="T43" fmla="*/ 76 h 76"/>
                <a:gd name="T44" fmla="*/ 88 w 92"/>
                <a:gd name="T45" fmla="*/ 76 h 76"/>
                <a:gd name="T46" fmla="*/ 92 w 92"/>
                <a:gd name="T47" fmla="*/ 72 h 76"/>
                <a:gd name="T48" fmla="*/ 89 w 92"/>
                <a:gd name="T49" fmla="*/ 66 h 76"/>
                <a:gd name="T50" fmla="*/ 17 w 92"/>
                <a:gd name="T51" fmla="*/ 49 h 76"/>
                <a:gd name="T52" fmla="*/ 15 w 92"/>
                <a:gd name="T53" fmla="*/ 48 h 76"/>
                <a:gd name="T54" fmla="*/ 15 w 92"/>
                <a:gd name="T55" fmla="*/ 4 h 76"/>
                <a:gd name="T56" fmla="*/ 17 w 92"/>
                <a:gd name="T57" fmla="*/ 2 h 76"/>
                <a:gd name="T58" fmla="*/ 75 w 92"/>
                <a:gd name="T59" fmla="*/ 2 h 76"/>
                <a:gd name="T60" fmla="*/ 77 w 92"/>
                <a:gd name="T61" fmla="*/ 4 h 76"/>
                <a:gd name="T62" fmla="*/ 77 w 92"/>
                <a:gd name="T63" fmla="*/ 48 h 76"/>
                <a:gd name="T64" fmla="*/ 75 w 92"/>
                <a:gd name="T65" fmla="*/ 49 h 76"/>
                <a:gd name="T66" fmla="*/ 17 w 92"/>
                <a:gd name="T67" fmla="*/ 49 h 76"/>
                <a:gd name="T68" fmla="*/ 77 w 92"/>
                <a:gd name="T69" fmla="*/ 58 h 76"/>
                <a:gd name="T70" fmla="*/ 80 w 92"/>
                <a:gd name="T71" fmla="*/ 64 h 76"/>
                <a:gd name="T72" fmla="*/ 85 w 92"/>
                <a:gd name="T73" fmla="*/ 64 h 76"/>
                <a:gd name="T74" fmla="*/ 87 w 92"/>
                <a:gd name="T75" fmla="*/ 66 h 76"/>
                <a:gd name="T76" fmla="*/ 87 w 92"/>
                <a:gd name="T77" fmla="*/ 66 h 76"/>
                <a:gd name="T78" fmla="*/ 90 w 92"/>
                <a:gd name="T79" fmla="*/ 72 h 76"/>
                <a:gd name="T80" fmla="*/ 88 w 92"/>
                <a:gd name="T81" fmla="*/ 74 h 76"/>
                <a:gd name="T82" fmla="*/ 4 w 92"/>
                <a:gd name="T83" fmla="*/ 74 h 76"/>
                <a:gd name="T84" fmla="*/ 2 w 92"/>
                <a:gd name="T85" fmla="*/ 72 h 76"/>
                <a:gd name="T86" fmla="*/ 5 w 92"/>
                <a:gd name="T87" fmla="*/ 66 h 76"/>
                <a:gd name="T88" fmla="*/ 5 w 92"/>
                <a:gd name="T89" fmla="*/ 66 h 76"/>
                <a:gd name="T90" fmla="*/ 7 w 92"/>
                <a:gd name="T91" fmla="*/ 64 h 76"/>
                <a:gd name="T92" fmla="*/ 12 w 92"/>
                <a:gd name="T93" fmla="*/ 64 h 76"/>
                <a:gd name="T94" fmla="*/ 15 w 92"/>
                <a:gd name="T95" fmla="*/ 58 h 76"/>
                <a:gd name="T96" fmla="*/ 26 w 92"/>
                <a:gd name="T97" fmla="*/ 58 h 76"/>
                <a:gd name="T98" fmla="*/ 26 w 92"/>
                <a:gd name="T99" fmla="*/ 54 h 76"/>
                <a:gd name="T100" fmla="*/ 66 w 92"/>
                <a:gd name="T101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" h="76">
                  <a:moveTo>
                    <a:pt x="89" y="66"/>
                  </a:moveTo>
                  <a:cubicBezTo>
                    <a:pt x="89" y="63"/>
                    <a:pt x="88" y="61"/>
                    <a:pt x="85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8" y="52"/>
                    <a:pt x="80" y="50"/>
                    <a:pt x="80" y="48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2"/>
                    <a:pt x="78" y="0"/>
                    <a:pt x="7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0"/>
                    <a:pt x="12" y="2"/>
                    <a:pt x="12" y="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0"/>
                    <a:pt x="14" y="52"/>
                    <a:pt x="17" y="52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4" y="61"/>
                    <a:pt x="3" y="63"/>
                    <a:pt x="3" y="6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5"/>
                    <a:pt x="1" y="76"/>
                    <a:pt x="4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91" y="76"/>
                    <a:pt x="92" y="75"/>
                    <a:pt x="92" y="72"/>
                  </a:cubicBezTo>
                  <a:lnTo>
                    <a:pt x="89" y="66"/>
                  </a:lnTo>
                  <a:close/>
                  <a:moveTo>
                    <a:pt x="17" y="49"/>
                  </a:moveTo>
                  <a:cubicBezTo>
                    <a:pt x="15" y="49"/>
                    <a:pt x="15" y="49"/>
                    <a:pt x="15" y="48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5" y="2"/>
                    <a:pt x="17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2"/>
                    <a:pt x="77" y="3"/>
                    <a:pt x="77" y="4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9"/>
                    <a:pt x="77" y="49"/>
                    <a:pt x="75" y="49"/>
                  </a:cubicBezTo>
                  <a:lnTo>
                    <a:pt x="17" y="49"/>
                  </a:lnTo>
                  <a:close/>
                  <a:moveTo>
                    <a:pt x="77" y="58"/>
                  </a:moveTo>
                  <a:cubicBezTo>
                    <a:pt x="78" y="59"/>
                    <a:pt x="80" y="64"/>
                    <a:pt x="80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6" y="64"/>
                    <a:pt x="87" y="65"/>
                    <a:pt x="87" y="66"/>
                  </a:cubicBezTo>
                  <a:cubicBezTo>
                    <a:pt x="87" y="66"/>
                    <a:pt x="87" y="66"/>
                    <a:pt x="87" y="66"/>
                  </a:cubicBezTo>
                  <a:cubicBezTo>
                    <a:pt x="87" y="66"/>
                    <a:pt x="89" y="71"/>
                    <a:pt x="90" y="72"/>
                  </a:cubicBezTo>
                  <a:cubicBezTo>
                    <a:pt x="90" y="73"/>
                    <a:pt x="89" y="74"/>
                    <a:pt x="88" y="74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3" y="74"/>
                    <a:pt x="2" y="73"/>
                    <a:pt x="2" y="72"/>
                  </a:cubicBezTo>
                  <a:cubicBezTo>
                    <a:pt x="3" y="71"/>
                    <a:pt x="5" y="66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5" y="65"/>
                    <a:pt x="6" y="64"/>
                    <a:pt x="7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4"/>
                    <a:pt x="14" y="59"/>
                    <a:pt x="15" y="58"/>
                  </a:cubicBezTo>
                  <a:cubicBezTo>
                    <a:pt x="17" y="58"/>
                    <a:pt x="26" y="58"/>
                    <a:pt x="26" y="58"/>
                  </a:cubicBezTo>
                  <a:cubicBezTo>
                    <a:pt x="26" y="58"/>
                    <a:pt x="26" y="54"/>
                    <a:pt x="26" y="54"/>
                  </a:cubicBezTo>
                  <a:cubicBezTo>
                    <a:pt x="30" y="54"/>
                    <a:pt x="62" y="54"/>
                    <a:pt x="66" y="54"/>
                  </a:cubicBezTo>
                </a:path>
              </a:pathLst>
            </a:custGeom>
            <a:solidFill>
              <a:srgbClr val="D1B99D"/>
            </a:solidFill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3" name="Freeform 155"/>
            <p:cNvSpPr/>
            <p:nvPr/>
          </p:nvSpPr>
          <p:spPr bwMode="auto">
            <a:xfrm>
              <a:off x="5336117" y="4362451"/>
              <a:ext cx="25400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4" name="Freeform 156"/>
            <p:cNvSpPr/>
            <p:nvPr/>
          </p:nvSpPr>
          <p:spPr bwMode="auto">
            <a:xfrm>
              <a:off x="5372100" y="4362451"/>
              <a:ext cx="25400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5" name="Freeform 157"/>
            <p:cNvSpPr/>
            <p:nvPr/>
          </p:nvSpPr>
          <p:spPr bwMode="auto">
            <a:xfrm>
              <a:off x="5408084" y="4362451"/>
              <a:ext cx="25400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6" name="Freeform 158"/>
            <p:cNvSpPr/>
            <p:nvPr/>
          </p:nvSpPr>
          <p:spPr bwMode="auto">
            <a:xfrm>
              <a:off x="5444067" y="4362451"/>
              <a:ext cx="25400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7" name="Freeform 159"/>
            <p:cNvSpPr/>
            <p:nvPr/>
          </p:nvSpPr>
          <p:spPr bwMode="auto">
            <a:xfrm>
              <a:off x="5480051" y="4362451"/>
              <a:ext cx="25400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8" name="Freeform 160"/>
            <p:cNvSpPr/>
            <p:nvPr/>
          </p:nvSpPr>
          <p:spPr bwMode="auto">
            <a:xfrm>
              <a:off x="5518151" y="4362451"/>
              <a:ext cx="23283" cy="8467"/>
            </a:xfrm>
            <a:custGeom>
              <a:avLst/>
              <a:gdLst>
                <a:gd name="T0" fmla="*/ 6 w 8"/>
                <a:gd name="T1" fmla="*/ 0 h 3"/>
                <a:gd name="T2" fmla="*/ 2 w 8"/>
                <a:gd name="T3" fmla="*/ 0 h 3"/>
                <a:gd name="T4" fmla="*/ 0 w 8"/>
                <a:gd name="T5" fmla="*/ 2 h 3"/>
                <a:gd name="T6" fmla="*/ 2 w 8"/>
                <a:gd name="T7" fmla="*/ 3 h 3"/>
                <a:gd name="T8" fmla="*/ 6 w 8"/>
                <a:gd name="T9" fmla="*/ 3 h 3"/>
                <a:gd name="T10" fmla="*/ 8 w 8"/>
                <a:gd name="T11" fmla="*/ 2 h 3"/>
                <a:gd name="T12" fmla="*/ 6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3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99" name="Freeform 161"/>
            <p:cNvSpPr/>
            <p:nvPr/>
          </p:nvSpPr>
          <p:spPr bwMode="auto">
            <a:xfrm>
              <a:off x="5355167" y="4349751"/>
              <a:ext cx="23284" cy="8467"/>
            </a:xfrm>
            <a:custGeom>
              <a:avLst/>
              <a:gdLst>
                <a:gd name="T0" fmla="*/ 2 w 8"/>
                <a:gd name="T1" fmla="*/ 3 h 3"/>
                <a:gd name="T2" fmla="*/ 6 w 8"/>
                <a:gd name="T3" fmla="*/ 3 h 3"/>
                <a:gd name="T4" fmla="*/ 8 w 8"/>
                <a:gd name="T5" fmla="*/ 2 h 3"/>
                <a:gd name="T6" fmla="*/ 6 w 8"/>
                <a:gd name="T7" fmla="*/ 0 h 3"/>
                <a:gd name="T8" fmla="*/ 2 w 8"/>
                <a:gd name="T9" fmla="*/ 0 h 3"/>
                <a:gd name="T10" fmla="*/ 0 w 8"/>
                <a:gd name="T11" fmla="*/ 2 h 3"/>
                <a:gd name="T12" fmla="*/ 2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0" name="Freeform 162"/>
            <p:cNvSpPr/>
            <p:nvPr/>
          </p:nvSpPr>
          <p:spPr bwMode="auto">
            <a:xfrm>
              <a:off x="5391151" y="4349751"/>
              <a:ext cx="23283" cy="8467"/>
            </a:xfrm>
            <a:custGeom>
              <a:avLst/>
              <a:gdLst>
                <a:gd name="T0" fmla="*/ 2 w 8"/>
                <a:gd name="T1" fmla="*/ 3 h 3"/>
                <a:gd name="T2" fmla="*/ 6 w 8"/>
                <a:gd name="T3" fmla="*/ 3 h 3"/>
                <a:gd name="T4" fmla="*/ 8 w 8"/>
                <a:gd name="T5" fmla="*/ 2 h 3"/>
                <a:gd name="T6" fmla="*/ 6 w 8"/>
                <a:gd name="T7" fmla="*/ 0 h 3"/>
                <a:gd name="T8" fmla="*/ 2 w 8"/>
                <a:gd name="T9" fmla="*/ 0 h 3"/>
                <a:gd name="T10" fmla="*/ 0 w 8"/>
                <a:gd name="T11" fmla="*/ 2 h 3"/>
                <a:gd name="T12" fmla="*/ 2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1" name="Freeform 163"/>
            <p:cNvSpPr/>
            <p:nvPr/>
          </p:nvSpPr>
          <p:spPr bwMode="auto">
            <a:xfrm>
              <a:off x="5427133" y="4349751"/>
              <a:ext cx="23284" cy="8467"/>
            </a:xfrm>
            <a:custGeom>
              <a:avLst/>
              <a:gdLst>
                <a:gd name="T0" fmla="*/ 2 w 8"/>
                <a:gd name="T1" fmla="*/ 3 h 3"/>
                <a:gd name="T2" fmla="*/ 6 w 8"/>
                <a:gd name="T3" fmla="*/ 3 h 3"/>
                <a:gd name="T4" fmla="*/ 8 w 8"/>
                <a:gd name="T5" fmla="*/ 2 h 3"/>
                <a:gd name="T6" fmla="*/ 6 w 8"/>
                <a:gd name="T7" fmla="*/ 0 h 3"/>
                <a:gd name="T8" fmla="*/ 2 w 8"/>
                <a:gd name="T9" fmla="*/ 0 h 3"/>
                <a:gd name="T10" fmla="*/ 0 w 8"/>
                <a:gd name="T11" fmla="*/ 2 h 3"/>
                <a:gd name="T12" fmla="*/ 2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2" name="Freeform 164"/>
            <p:cNvSpPr/>
            <p:nvPr/>
          </p:nvSpPr>
          <p:spPr bwMode="auto">
            <a:xfrm>
              <a:off x="5463117" y="4349751"/>
              <a:ext cx="23283" cy="8467"/>
            </a:xfrm>
            <a:custGeom>
              <a:avLst/>
              <a:gdLst>
                <a:gd name="T0" fmla="*/ 2 w 8"/>
                <a:gd name="T1" fmla="*/ 3 h 3"/>
                <a:gd name="T2" fmla="*/ 6 w 8"/>
                <a:gd name="T3" fmla="*/ 3 h 3"/>
                <a:gd name="T4" fmla="*/ 8 w 8"/>
                <a:gd name="T5" fmla="*/ 2 h 3"/>
                <a:gd name="T6" fmla="*/ 6 w 8"/>
                <a:gd name="T7" fmla="*/ 0 h 3"/>
                <a:gd name="T8" fmla="*/ 2 w 8"/>
                <a:gd name="T9" fmla="*/ 0 h 3"/>
                <a:gd name="T10" fmla="*/ 0 w 8"/>
                <a:gd name="T11" fmla="*/ 2 h 3"/>
                <a:gd name="T12" fmla="*/ 2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3" name="Freeform 165"/>
            <p:cNvSpPr/>
            <p:nvPr/>
          </p:nvSpPr>
          <p:spPr bwMode="auto">
            <a:xfrm>
              <a:off x="5499100" y="4349751"/>
              <a:ext cx="23284" cy="8467"/>
            </a:xfrm>
            <a:custGeom>
              <a:avLst/>
              <a:gdLst>
                <a:gd name="T0" fmla="*/ 2 w 8"/>
                <a:gd name="T1" fmla="*/ 3 h 3"/>
                <a:gd name="T2" fmla="*/ 6 w 8"/>
                <a:gd name="T3" fmla="*/ 3 h 3"/>
                <a:gd name="T4" fmla="*/ 8 w 8"/>
                <a:gd name="T5" fmla="*/ 2 h 3"/>
                <a:gd name="T6" fmla="*/ 6 w 8"/>
                <a:gd name="T7" fmla="*/ 0 h 3"/>
                <a:gd name="T8" fmla="*/ 2 w 8"/>
                <a:gd name="T9" fmla="*/ 0 h 3"/>
                <a:gd name="T10" fmla="*/ 0 w 8"/>
                <a:gd name="T11" fmla="*/ 2 h 3"/>
                <a:gd name="T12" fmla="*/ 2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1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4" name="Freeform 166"/>
            <p:cNvSpPr/>
            <p:nvPr/>
          </p:nvSpPr>
          <p:spPr bwMode="auto">
            <a:xfrm>
              <a:off x="5632451" y="4235451"/>
              <a:ext cx="167216" cy="120649"/>
            </a:xfrm>
            <a:custGeom>
              <a:avLst/>
              <a:gdLst>
                <a:gd name="T0" fmla="*/ 52 w 56"/>
                <a:gd name="T1" fmla="*/ 0 h 40"/>
                <a:gd name="T2" fmla="*/ 4 w 56"/>
                <a:gd name="T3" fmla="*/ 0 h 40"/>
                <a:gd name="T4" fmla="*/ 0 w 56"/>
                <a:gd name="T5" fmla="*/ 5 h 40"/>
                <a:gd name="T6" fmla="*/ 0 w 56"/>
                <a:gd name="T7" fmla="*/ 36 h 40"/>
                <a:gd name="T8" fmla="*/ 4 w 56"/>
                <a:gd name="T9" fmla="*/ 40 h 40"/>
                <a:gd name="T10" fmla="*/ 52 w 56"/>
                <a:gd name="T11" fmla="*/ 40 h 40"/>
                <a:gd name="T12" fmla="*/ 56 w 56"/>
                <a:gd name="T13" fmla="*/ 36 h 40"/>
                <a:gd name="T14" fmla="*/ 56 w 56"/>
                <a:gd name="T15" fmla="*/ 5 h 40"/>
                <a:gd name="T16" fmla="*/ 52 w 56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0">
                  <a:moveTo>
                    <a:pt x="5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4" y="40"/>
                    <a:pt x="56" y="38"/>
                    <a:pt x="56" y="3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2"/>
                    <a:pt x="54" y="0"/>
                    <a:pt x="5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5" name="Freeform 167"/>
            <p:cNvSpPr>
              <a:spLocks noEditPoints="1"/>
            </p:cNvSpPr>
            <p:nvPr/>
          </p:nvSpPr>
          <p:spPr bwMode="auto">
            <a:xfrm>
              <a:off x="5395034" y="3910541"/>
              <a:ext cx="615279" cy="535515"/>
            </a:xfrm>
            <a:custGeom>
              <a:avLst/>
              <a:gdLst>
                <a:gd name="T0" fmla="*/ 127 w 134"/>
                <a:gd name="T1" fmla="*/ 163 h 178"/>
                <a:gd name="T2" fmla="*/ 121 w 134"/>
                <a:gd name="T3" fmla="*/ 156 h 178"/>
                <a:gd name="T4" fmla="*/ 111 w 134"/>
                <a:gd name="T5" fmla="*/ 153 h 178"/>
                <a:gd name="T6" fmla="*/ 122 w 134"/>
                <a:gd name="T7" fmla="*/ 149 h 178"/>
                <a:gd name="T8" fmla="*/ 117 w 134"/>
                <a:gd name="T9" fmla="*/ 101 h 178"/>
                <a:gd name="T10" fmla="*/ 54 w 134"/>
                <a:gd name="T11" fmla="*/ 105 h 178"/>
                <a:gd name="T12" fmla="*/ 46 w 134"/>
                <a:gd name="T13" fmla="*/ 112 h 178"/>
                <a:gd name="T14" fmla="*/ 89 w 134"/>
                <a:gd name="T15" fmla="*/ 77 h 178"/>
                <a:gd name="T16" fmla="*/ 90 w 134"/>
                <a:gd name="T17" fmla="*/ 66 h 178"/>
                <a:gd name="T18" fmla="*/ 83 w 134"/>
                <a:gd name="T19" fmla="*/ 62 h 178"/>
                <a:gd name="T20" fmla="*/ 70 w 134"/>
                <a:gd name="T21" fmla="*/ 55 h 178"/>
                <a:gd name="T22" fmla="*/ 76 w 134"/>
                <a:gd name="T23" fmla="*/ 53 h 178"/>
                <a:gd name="T24" fmla="*/ 81 w 134"/>
                <a:gd name="T25" fmla="*/ 4 h 178"/>
                <a:gd name="T26" fmla="*/ 17 w 134"/>
                <a:gd name="T27" fmla="*/ 0 h 178"/>
                <a:gd name="T28" fmla="*/ 13 w 134"/>
                <a:gd name="T29" fmla="*/ 49 h 178"/>
                <a:gd name="T30" fmla="*/ 24 w 134"/>
                <a:gd name="T31" fmla="*/ 53 h 178"/>
                <a:gd name="T32" fmla="*/ 14 w 134"/>
                <a:gd name="T33" fmla="*/ 55 h 178"/>
                <a:gd name="T34" fmla="*/ 8 w 134"/>
                <a:gd name="T35" fmla="*/ 62 h 178"/>
                <a:gd name="T36" fmla="*/ 0 w 134"/>
                <a:gd name="T37" fmla="*/ 73 h 178"/>
                <a:gd name="T38" fmla="*/ 41 w 134"/>
                <a:gd name="T39" fmla="*/ 77 h 178"/>
                <a:gd name="T40" fmla="*/ 30 w 134"/>
                <a:gd name="T41" fmla="*/ 112 h 178"/>
                <a:gd name="T42" fmla="*/ 54 w 134"/>
                <a:gd name="T43" fmla="*/ 116 h 178"/>
                <a:gd name="T44" fmla="*/ 59 w 134"/>
                <a:gd name="T45" fmla="*/ 153 h 178"/>
                <a:gd name="T46" fmla="*/ 65 w 134"/>
                <a:gd name="T47" fmla="*/ 156 h 178"/>
                <a:gd name="T48" fmla="*/ 52 w 134"/>
                <a:gd name="T49" fmla="*/ 163 h 178"/>
                <a:gd name="T50" fmla="*/ 45 w 134"/>
                <a:gd name="T51" fmla="*/ 167 h 178"/>
                <a:gd name="T52" fmla="*/ 46 w 134"/>
                <a:gd name="T53" fmla="*/ 178 h 178"/>
                <a:gd name="T54" fmla="*/ 134 w 134"/>
                <a:gd name="T55" fmla="*/ 173 h 178"/>
                <a:gd name="T56" fmla="*/ 17 w 134"/>
                <a:gd name="T57" fmla="*/ 50 h 178"/>
                <a:gd name="T58" fmla="*/ 15 w 134"/>
                <a:gd name="T59" fmla="*/ 4 h 178"/>
                <a:gd name="T60" fmla="*/ 76 w 134"/>
                <a:gd name="T61" fmla="*/ 3 h 178"/>
                <a:gd name="T62" fmla="*/ 78 w 134"/>
                <a:gd name="T63" fmla="*/ 49 h 178"/>
                <a:gd name="T64" fmla="*/ 17 w 134"/>
                <a:gd name="T65" fmla="*/ 50 h 178"/>
                <a:gd name="T66" fmla="*/ 6 w 134"/>
                <a:gd name="T67" fmla="*/ 67 h 178"/>
                <a:gd name="T68" fmla="*/ 8 w 134"/>
                <a:gd name="T69" fmla="*/ 64 h 178"/>
                <a:gd name="T70" fmla="*/ 15 w 134"/>
                <a:gd name="T71" fmla="*/ 58 h 178"/>
                <a:gd name="T72" fmla="*/ 26 w 134"/>
                <a:gd name="T73" fmla="*/ 54 h 178"/>
                <a:gd name="T74" fmla="*/ 67 w 134"/>
                <a:gd name="T75" fmla="*/ 58 h 178"/>
                <a:gd name="T76" fmla="*/ 81 w 134"/>
                <a:gd name="T77" fmla="*/ 64 h 178"/>
                <a:gd name="T78" fmla="*/ 88 w 134"/>
                <a:gd name="T79" fmla="*/ 66 h 178"/>
                <a:gd name="T80" fmla="*/ 91 w 134"/>
                <a:gd name="T81" fmla="*/ 73 h 178"/>
                <a:gd name="T82" fmla="*/ 5 w 134"/>
                <a:gd name="T83" fmla="*/ 74 h 178"/>
                <a:gd name="T84" fmla="*/ 59 w 134"/>
                <a:gd name="T85" fmla="*/ 151 h 178"/>
                <a:gd name="T86" fmla="*/ 57 w 134"/>
                <a:gd name="T87" fmla="*/ 105 h 178"/>
                <a:gd name="T88" fmla="*/ 117 w 134"/>
                <a:gd name="T89" fmla="*/ 104 h 178"/>
                <a:gd name="T90" fmla="*/ 119 w 134"/>
                <a:gd name="T91" fmla="*/ 149 h 178"/>
                <a:gd name="T92" fmla="*/ 59 w 134"/>
                <a:gd name="T93" fmla="*/ 151 h 178"/>
                <a:gd name="T94" fmla="*/ 46 w 134"/>
                <a:gd name="T95" fmla="*/ 175 h 178"/>
                <a:gd name="T96" fmla="*/ 47 w 134"/>
                <a:gd name="T97" fmla="*/ 167 h 178"/>
                <a:gd name="T98" fmla="*/ 49 w 134"/>
                <a:gd name="T99" fmla="*/ 165 h 178"/>
                <a:gd name="T100" fmla="*/ 57 w 134"/>
                <a:gd name="T101" fmla="*/ 159 h 178"/>
                <a:gd name="T102" fmla="*/ 68 w 134"/>
                <a:gd name="T103" fmla="*/ 155 h 178"/>
                <a:gd name="T104" fmla="*/ 108 w 134"/>
                <a:gd name="T105" fmla="*/ 159 h 178"/>
                <a:gd name="T106" fmla="*/ 122 w 134"/>
                <a:gd name="T107" fmla="*/ 165 h 178"/>
                <a:gd name="T108" fmla="*/ 129 w 134"/>
                <a:gd name="T109" fmla="*/ 167 h 178"/>
                <a:gd name="T110" fmla="*/ 132 w 134"/>
                <a:gd name="T111" fmla="*/ 174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4" h="178">
                  <a:moveTo>
                    <a:pt x="131" y="167"/>
                  </a:moveTo>
                  <a:cubicBezTo>
                    <a:pt x="131" y="165"/>
                    <a:pt x="130" y="163"/>
                    <a:pt x="127" y="163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1" y="153"/>
                    <a:pt x="111" y="153"/>
                    <a:pt x="111" y="153"/>
                  </a:cubicBezTo>
                  <a:cubicBezTo>
                    <a:pt x="117" y="153"/>
                    <a:pt x="117" y="153"/>
                    <a:pt x="117" y="153"/>
                  </a:cubicBezTo>
                  <a:cubicBezTo>
                    <a:pt x="120" y="153"/>
                    <a:pt x="122" y="152"/>
                    <a:pt x="122" y="149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22" y="103"/>
                    <a:pt x="120" y="101"/>
                    <a:pt x="117" y="101"/>
                  </a:cubicBezTo>
                  <a:cubicBezTo>
                    <a:pt x="59" y="101"/>
                    <a:pt x="59" y="101"/>
                    <a:pt x="59" y="101"/>
                  </a:cubicBezTo>
                  <a:cubicBezTo>
                    <a:pt x="56" y="101"/>
                    <a:pt x="54" y="103"/>
                    <a:pt x="54" y="105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89" y="77"/>
                    <a:pt x="89" y="77"/>
                    <a:pt x="89" y="77"/>
                  </a:cubicBezTo>
                  <a:cubicBezTo>
                    <a:pt x="91" y="77"/>
                    <a:pt x="93" y="75"/>
                    <a:pt x="93" y="73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64"/>
                    <a:pt x="88" y="62"/>
                    <a:pt x="86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9" y="53"/>
                    <a:pt x="81" y="51"/>
                    <a:pt x="81" y="49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2"/>
                    <a:pt x="79" y="0"/>
                    <a:pt x="7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3" y="2"/>
                    <a:pt x="13" y="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1"/>
                    <a:pt x="15" y="53"/>
                    <a:pt x="17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5" y="62"/>
                    <a:pt x="3" y="64"/>
                    <a:pt x="3" y="66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5"/>
                    <a:pt x="2" y="77"/>
                    <a:pt x="5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4" y="152"/>
                    <a:pt x="56" y="153"/>
                    <a:pt x="59" y="153"/>
                  </a:cubicBezTo>
                  <a:cubicBezTo>
                    <a:pt x="65" y="153"/>
                    <a:pt x="65" y="153"/>
                    <a:pt x="65" y="153"/>
                  </a:cubicBezTo>
                  <a:cubicBezTo>
                    <a:pt x="65" y="156"/>
                    <a:pt x="65" y="156"/>
                    <a:pt x="65" y="156"/>
                  </a:cubicBezTo>
                  <a:cubicBezTo>
                    <a:pt x="55" y="156"/>
                    <a:pt x="55" y="156"/>
                    <a:pt x="55" y="156"/>
                  </a:cubicBezTo>
                  <a:cubicBezTo>
                    <a:pt x="52" y="163"/>
                    <a:pt x="52" y="163"/>
                    <a:pt x="52" y="163"/>
                  </a:cubicBezTo>
                  <a:cubicBezTo>
                    <a:pt x="49" y="163"/>
                    <a:pt x="49" y="163"/>
                    <a:pt x="49" y="163"/>
                  </a:cubicBezTo>
                  <a:cubicBezTo>
                    <a:pt x="46" y="163"/>
                    <a:pt x="45" y="165"/>
                    <a:pt x="45" y="167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2" y="176"/>
                    <a:pt x="43" y="178"/>
                    <a:pt x="46" y="178"/>
                  </a:cubicBezTo>
                  <a:cubicBezTo>
                    <a:pt x="130" y="178"/>
                    <a:pt x="130" y="178"/>
                    <a:pt x="130" y="178"/>
                  </a:cubicBezTo>
                  <a:cubicBezTo>
                    <a:pt x="133" y="178"/>
                    <a:pt x="134" y="176"/>
                    <a:pt x="134" y="173"/>
                  </a:cubicBezTo>
                  <a:lnTo>
                    <a:pt x="131" y="167"/>
                  </a:lnTo>
                  <a:close/>
                  <a:moveTo>
                    <a:pt x="17" y="50"/>
                  </a:moveTo>
                  <a:cubicBezTo>
                    <a:pt x="16" y="50"/>
                    <a:pt x="15" y="49"/>
                    <a:pt x="15" y="49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6" y="3"/>
                    <a:pt x="17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7" y="3"/>
                    <a:pt x="78" y="3"/>
                    <a:pt x="78" y="4"/>
                  </a:cubicBez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7" y="50"/>
                    <a:pt x="76" y="50"/>
                  </a:cubicBezTo>
                  <a:lnTo>
                    <a:pt x="17" y="50"/>
                  </a:lnTo>
                  <a:close/>
                  <a:moveTo>
                    <a:pt x="3" y="73"/>
                  </a:moveTo>
                  <a:cubicBezTo>
                    <a:pt x="3" y="72"/>
                    <a:pt x="6" y="67"/>
                    <a:pt x="6" y="67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5"/>
                    <a:pt x="7" y="64"/>
                    <a:pt x="8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4"/>
                    <a:pt x="15" y="60"/>
                    <a:pt x="15" y="58"/>
                  </a:cubicBezTo>
                  <a:cubicBezTo>
                    <a:pt x="18" y="58"/>
                    <a:pt x="26" y="58"/>
                    <a:pt x="26" y="58"/>
                  </a:cubicBezTo>
                  <a:cubicBezTo>
                    <a:pt x="26" y="58"/>
                    <a:pt x="26" y="55"/>
                    <a:pt x="26" y="54"/>
                  </a:cubicBezTo>
                  <a:cubicBezTo>
                    <a:pt x="31" y="54"/>
                    <a:pt x="63" y="54"/>
                    <a:pt x="67" y="54"/>
                  </a:cubicBezTo>
                  <a:cubicBezTo>
                    <a:pt x="67" y="55"/>
                    <a:pt x="67" y="58"/>
                    <a:pt x="67" y="58"/>
                  </a:cubicBezTo>
                  <a:cubicBezTo>
                    <a:pt x="67" y="58"/>
                    <a:pt x="76" y="58"/>
                    <a:pt x="78" y="58"/>
                  </a:cubicBezTo>
                  <a:cubicBezTo>
                    <a:pt x="79" y="60"/>
                    <a:pt x="81" y="64"/>
                    <a:pt x="81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7" y="64"/>
                    <a:pt x="88" y="65"/>
                    <a:pt x="88" y="66"/>
                  </a:cubicBezTo>
                  <a:cubicBezTo>
                    <a:pt x="88" y="67"/>
                    <a:pt x="88" y="67"/>
                    <a:pt x="88" y="67"/>
                  </a:cubicBezTo>
                  <a:cubicBezTo>
                    <a:pt x="88" y="67"/>
                    <a:pt x="90" y="72"/>
                    <a:pt x="91" y="73"/>
                  </a:cubicBezTo>
                  <a:cubicBezTo>
                    <a:pt x="90" y="74"/>
                    <a:pt x="90" y="74"/>
                    <a:pt x="89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4" y="74"/>
                    <a:pt x="3" y="74"/>
                    <a:pt x="3" y="73"/>
                  </a:cubicBezTo>
                  <a:close/>
                  <a:moveTo>
                    <a:pt x="59" y="151"/>
                  </a:moveTo>
                  <a:cubicBezTo>
                    <a:pt x="57" y="151"/>
                    <a:pt x="57" y="150"/>
                    <a:pt x="57" y="149"/>
                  </a:cubicBezTo>
                  <a:cubicBezTo>
                    <a:pt x="57" y="105"/>
                    <a:pt x="57" y="105"/>
                    <a:pt x="57" y="105"/>
                  </a:cubicBezTo>
                  <a:cubicBezTo>
                    <a:pt x="57" y="104"/>
                    <a:pt x="57" y="104"/>
                    <a:pt x="59" y="104"/>
                  </a:cubicBezTo>
                  <a:cubicBezTo>
                    <a:pt x="117" y="104"/>
                    <a:pt x="117" y="104"/>
                    <a:pt x="117" y="104"/>
                  </a:cubicBezTo>
                  <a:cubicBezTo>
                    <a:pt x="119" y="104"/>
                    <a:pt x="119" y="104"/>
                    <a:pt x="119" y="105"/>
                  </a:cubicBezTo>
                  <a:cubicBezTo>
                    <a:pt x="119" y="149"/>
                    <a:pt x="119" y="149"/>
                    <a:pt x="119" y="149"/>
                  </a:cubicBezTo>
                  <a:cubicBezTo>
                    <a:pt x="119" y="150"/>
                    <a:pt x="119" y="151"/>
                    <a:pt x="117" y="151"/>
                  </a:cubicBezTo>
                  <a:lnTo>
                    <a:pt x="59" y="151"/>
                  </a:lnTo>
                  <a:close/>
                  <a:moveTo>
                    <a:pt x="130" y="175"/>
                  </a:moveTo>
                  <a:cubicBezTo>
                    <a:pt x="46" y="175"/>
                    <a:pt x="46" y="175"/>
                    <a:pt x="46" y="175"/>
                  </a:cubicBezTo>
                  <a:cubicBezTo>
                    <a:pt x="45" y="175"/>
                    <a:pt x="44" y="175"/>
                    <a:pt x="44" y="174"/>
                  </a:cubicBezTo>
                  <a:cubicBezTo>
                    <a:pt x="45" y="173"/>
                    <a:pt x="47" y="167"/>
                    <a:pt x="47" y="167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47" y="166"/>
                    <a:pt x="48" y="165"/>
                    <a:pt x="49" y="165"/>
                  </a:cubicBezTo>
                  <a:cubicBezTo>
                    <a:pt x="54" y="165"/>
                    <a:pt x="54" y="165"/>
                    <a:pt x="54" y="165"/>
                  </a:cubicBezTo>
                  <a:cubicBezTo>
                    <a:pt x="54" y="165"/>
                    <a:pt x="56" y="161"/>
                    <a:pt x="57" y="159"/>
                  </a:cubicBezTo>
                  <a:cubicBezTo>
                    <a:pt x="59" y="159"/>
                    <a:pt x="68" y="159"/>
                    <a:pt x="68" y="159"/>
                  </a:cubicBezTo>
                  <a:cubicBezTo>
                    <a:pt x="68" y="159"/>
                    <a:pt x="68" y="155"/>
                    <a:pt x="68" y="155"/>
                  </a:cubicBezTo>
                  <a:cubicBezTo>
                    <a:pt x="72" y="155"/>
                    <a:pt x="104" y="155"/>
                    <a:pt x="108" y="155"/>
                  </a:cubicBezTo>
                  <a:cubicBezTo>
                    <a:pt x="108" y="155"/>
                    <a:pt x="108" y="159"/>
                    <a:pt x="108" y="159"/>
                  </a:cubicBezTo>
                  <a:cubicBezTo>
                    <a:pt x="108" y="159"/>
                    <a:pt x="117" y="159"/>
                    <a:pt x="119" y="159"/>
                  </a:cubicBezTo>
                  <a:cubicBezTo>
                    <a:pt x="120" y="161"/>
                    <a:pt x="122" y="165"/>
                    <a:pt x="122" y="165"/>
                  </a:cubicBezTo>
                  <a:cubicBezTo>
                    <a:pt x="127" y="165"/>
                    <a:pt x="127" y="165"/>
                    <a:pt x="127" y="165"/>
                  </a:cubicBezTo>
                  <a:cubicBezTo>
                    <a:pt x="128" y="165"/>
                    <a:pt x="129" y="166"/>
                    <a:pt x="129" y="167"/>
                  </a:cubicBezTo>
                  <a:cubicBezTo>
                    <a:pt x="129" y="167"/>
                    <a:pt x="129" y="167"/>
                    <a:pt x="129" y="167"/>
                  </a:cubicBezTo>
                  <a:cubicBezTo>
                    <a:pt x="129" y="167"/>
                    <a:pt x="131" y="173"/>
                    <a:pt x="132" y="174"/>
                  </a:cubicBezTo>
                  <a:cubicBezTo>
                    <a:pt x="132" y="175"/>
                    <a:pt x="131" y="175"/>
                    <a:pt x="130" y="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/>
            <a:lstStyle/>
            <a:p>
              <a:endParaRPr lang="zh-CN" altLang="en-US" sz="1400">
                <a:solidFill>
                  <a:schemeClr val="accent1"/>
                </a:solidFill>
              </a:endParaRPr>
            </a:p>
          </p:txBody>
        </p:sp>
        <p:sp>
          <p:nvSpPr>
            <p:cNvPr id="106" name="Freeform 168"/>
            <p:cNvSpPr/>
            <p:nvPr/>
          </p:nvSpPr>
          <p:spPr bwMode="auto">
            <a:xfrm>
              <a:off x="5613400" y="4421717"/>
              <a:ext cx="23284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7" name="Freeform 169"/>
            <p:cNvSpPr/>
            <p:nvPr/>
          </p:nvSpPr>
          <p:spPr bwMode="auto">
            <a:xfrm>
              <a:off x="5649384" y="4421717"/>
              <a:ext cx="23283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8" name="Freeform 170"/>
            <p:cNvSpPr/>
            <p:nvPr/>
          </p:nvSpPr>
          <p:spPr bwMode="auto">
            <a:xfrm>
              <a:off x="5685367" y="4421717"/>
              <a:ext cx="23284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09" name="Freeform 171"/>
            <p:cNvSpPr/>
            <p:nvPr/>
          </p:nvSpPr>
          <p:spPr bwMode="auto">
            <a:xfrm>
              <a:off x="5721351" y="4421717"/>
              <a:ext cx="25400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0" name="Freeform 172"/>
            <p:cNvSpPr/>
            <p:nvPr/>
          </p:nvSpPr>
          <p:spPr bwMode="auto">
            <a:xfrm>
              <a:off x="5757333" y="4421717"/>
              <a:ext cx="25400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1" name="Freeform 173"/>
            <p:cNvSpPr/>
            <p:nvPr/>
          </p:nvSpPr>
          <p:spPr bwMode="auto">
            <a:xfrm>
              <a:off x="5793317" y="4421717"/>
              <a:ext cx="25400" cy="6349"/>
            </a:xfrm>
            <a:custGeom>
              <a:avLst/>
              <a:gdLst>
                <a:gd name="T0" fmla="*/ 6 w 8"/>
                <a:gd name="T1" fmla="*/ 0 h 2"/>
                <a:gd name="T2" fmla="*/ 2 w 8"/>
                <a:gd name="T3" fmla="*/ 0 h 2"/>
                <a:gd name="T4" fmla="*/ 0 w 8"/>
                <a:gd name="T5" fmla="*/ 1 h 2"/>
                <a:gd name="T6" fmla="*/ 2 w 8"/>
                <a:gd name="T7" fmla="*/ 2 h 2"/>
                <a:gd name="T8" fmla="*/ 6 w 8"/>
                <a:gd name="T9" fmla="*/ 2 h 2"/>
                <a:gd name="T10" fmla="*/ 8 w 8"/>
                <a:gd name="T11" fmla="*/ 1 h 2"/>
                <a:gd name="T12" fmla="*/ 6 w 8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2" name="Freeform 174"/>
            <p:cNvSpPr/>
            <p:nvPr/>
          </p:nvSpPr>
          <p:spPr bwMode="auto">
            <a:xfrm>
              <a:off x="5632451" y="4409017"/>
              <a:ext cx="23283" cy="6349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3" name="Freeform 175"/>
            <p:cNvSpPr/>
            <p:nvPr/>
          </p:nvSpPr>
          <p:spPr bwMode="auto">
            <a:xfrm>
              <a:off x="5668433" y="4409017"/>
              <a:ext cx="23284" cy="6349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4" name="Freeform 176"/>
            <p:cNvSpPr/>
            <p:nvPr/>
          </p:nvSpPr>
          <p:spPr bwMode="auto">
            <a:xfrm>
              <a:off x="5704417" y="4409017"/>
              <a:ext cx="23283" cy="6349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5" name="Freeform 177"/>
            <p:cNvSpPr/>
            <p:nvPr/>
          </p:nvSpPr>
          <p:spPr bwMode="auto">
            <a:xfrm>
              <a:off x="5740400" y="4409017"/>
              <a:ext cx="23284" cy="6349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116" name="Freeform 178"/>
            <p:cNvSpPr/>
            <p:nvPr/>
          </p:nvSpPr>
          <p:spPr bwMode="auto">
            <a:xfrm>
              <a:off x="5776384" y="4409017"/>
              <a:ext cx="23283" cy="6349"/>
            </a:xfrm>
            <a:custGeom>
              <a:avLst/>
              <a:gdLst>
                <a:gd name="T0" fmla="*/ 2 w 8"/>
                <a:gd name="T1" fmla="*/ 2 h 2"/>
                <a:gd name="T2" fmla="*/ 6 w 8"/>
                <a:gd name="T3" fmla="*/ 2 h 2"/>
                <a:gd name="T4" fmla="*/ 8 w 8"/>
                <a:gd name="T5" fmla="*/ 1 h 2"/>
                <a:gd name="T6" fmla="*/ 6 w 8"/>
                <a:gd name="T7" fmla="*/ 0 h 2"/>
                <a:gd name="T8" fmla="*/ 2 w 8"/>
                <a:gd name="T9" fmla="*/ 0 h 2"/>
                <a:gd name="T10" fmla="*/ 0 w 8"/>
                <a:gd name="T11" fmla="*/ 1 h 2"/>
                <a:gd name="T12" fmla="*/ 2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9448093" y="4741175"/>
            <a:ext cx="644174" cy="505234"/>
            <a:chOff x="4612217" y="3214279"/>
            <a:chExt cx="536525" cy="439087"/>
          </a:xfrm>
        </p:grpSpPr>
        <p:sp>
          <p:nvSpPr>
            <p:cNvPr id="77" name="Freeform 132"/>
            <p:cNvSpPr>
              <a:spLocks noEditPoints="1"/>
            </p:cNvSpPr>
            <p:nvPr/>
          </p:nvSpPr>
          <p:spPr bwMode="auto">
            <a:xfrm>
              <a:off x="4612217" y="3230033"/>
              <a:ext cx="421216" cy="423333"/>
            </a:xfrm>
            <a:custGeom>
              <a:avLst/>
              <a:gdLst>
                <a:gd name="T0" fmla="*/ 0 w 140"/>
                <a:gd name="T1" fmla="*/ 115 h 141"/>
                <a:gd name="T2" fmla="*/ 25 w 140"/>
                <a:gd name="T3" fmla="*/ 130 h 141"/>
                <a:gd name="T4" fmla="*/ 10 w 140"/>
                <a:gd name="T5" fmla="*/ 60 h 141"/>
                <a:gd name="T6" fmla="*/ 0 w 140"/>
                <a:gd name="T7" fmla="*/ 81 h 141"/>
                <a:gd name="T8" fmla="*/ 10 w 140"/>
                <a:gd name="T9" fmla="*/ 60 h 141"/>
                <a:gd name="T10" fmla="*/ 10 w 140"/>
                <a:gd name="T11" fmla="*/ 26 h 141"/>
                <a:gd name="T12" fmla="*/ 25 w 140"/>
                <a:gd name="T13" fmla="*/ 0 h 141"/>
                <a:gd name="T14" fmla="*/ 10 w 140"/>
                <a:gd name="T15" fmla="*/ 87 h 141"/>
                <a:gd name="T16" fmla="*/ 0 w 140"/>
                <a:gd name="T17" fmla="*/ 108 h 141"/>
                <a:gd name="T18" fmla="*/ 10 w 140"/>
                <a:gd name="T19" fmla="*/ 87 h 141"/>
                <a:gd name="T20" fmla="*/ 0 w 140"/>
                <a:gd name="T21" fmla="*/ 33 h 141"/>
                <a:gd name="T22" fmla="*/ 10 w 140"/>
                <a:gd name="T23" fmla="*/ 54 h 141"/>
                <a:gd name="T24" fmla="*/ 140 w 140"/>
                <a:gd name="T25" fmla="*/ 42 h 141"/>
                <a:gd name="T26" fmla="*/ 140 w 140"/>
                <a:gd name="T27" fmla="*/ 54 h 141"/>
                <a:gd name="T28" fmla="*/ 107 w 140"/>
                <a:gd name="T29" fmla="*/ 9 h 141"/>
                <a:gd name="T30" fmla="*/ 87 w 140"/>
                <a:gd name="T31" fmla="*/ 0 h 141"/>
                <a:gd name="T32" fmla="*/ 105 w 140"/>
                <a:gd name="T33" fmla="*/ 10 h 141"/>
                <a:gd name="T34" fmla="*/ 32 w 140"/>
                <a:gd name="T35" fmla="*/ 141 h 141"/>
                <a:gd name="T36" fmla="*/ 53 w 140"/>
                <a:gd name="T37" fmla="*/ 131 h 141"/>
                <a:gd name="T38" fmla="*/ 32 w 140"/>
                <a:gd name="T39" fmla="*/ 141 h 141"/>
                <a:gd name="T40" fmla="*/ 140 w 140"/>
                <a:gd name="T41" fmla="*/ 108 h 141"/>
                <a:gd name="T42" fmla="*/ 130 w 140"/>
                <a:gd name="T43" fmla="*/ 87 h 141"/>
                <a:gd name="T44" fmla="*/ 115 w 140"/>
                <a:gd name="T45" fmla="*/ 130 h 141"/>
                <a:gd name="T46" fmla="*/ 140 w 140"/>
                <a:gd name="T47" fmla="*/ 115 h 141"/>
                <a:gd name="T48" fmla="*/ 115 w 140"/>
                <a:gd name="T49" fmla="*/ 130 h 141"/>
                <a:gd name="T50" fmla="*/ 130 w 140"/>
                <a:gd name="T51" fmla="*/ 81 h 141"/>
                <a:gd name="T52" fmla="*/ 140 w 140"/>
                <a:gd name="T53" fmla="*/ 60 h 141"/>
                <a:gd name="T54" fmla="*/ 32 w 140"/>
                <a:gd name="T55" fmla="*/ 10 h 141"/>
                <a:gd name="T56" fmla="*/ 53 w 140"/>
                <a:gd name="T57" fmla="*/ 0 h 141"/>
                <a:gd name="T58" fmla="*/ 32 w 140"/>
                <a:gd name="T59" fmla="*/ 10 h 141"/>
                <a:gd name="T60" fmla="*/ 80 w 140"/>
                <a:gd name="T61" fmla="*/ 10 h 141"/>
                <a:gd name="T62" fmla="*/ 60 w 140"/>
                <a:gd name="T63" fmla="*/ 0 h 141"/>
                <a:gd name="T64" fmla="*/ 60 w 140"/>
                <a:gd name="T65" fmla="*/ 141 h 141"/>
                <a:gd name="T66" fmla="*/ 80 w 140"/>
                <a:gd name="T67" fmla="*/ 131 h 141"/>
                <a:gd name="T68" fmla="*/ 60 w 140"/>
                <a:gd name="T69" fmla="*/ 141 h 141"/>
                <a:gd name="T70" fmla="*/ 107 w 140"/>
                <a:gd name="T71" fmla="*/ 141 h 141"/>
                <a:gd name="T72" fmla="*/ 87 w 140"/>
                <a:gd name="T73" fmla="*/ 13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0" h="141">
                  <a:moveTo>
                    <a:pt x="10" y="115"/>
                  </a:moveTo>
                  <a:cubicBezTo>
                    <a:pt x="0" y="115"/>
                    <a:pt x="0" y="115"/>
                    <a:pt x="0" y="115"/>
                  </a:cubicBezTo>
                  <a:cubicBezTo>
                    <a:pt x="0" y="129"/>
                    <a:pt x="11" y="140"/>
                    <a:pt x="25" y="140"/>
                  </a:cubicBezTo>
                  <a:cubicBezTo>
                    <a:pt x="25" y="130"/>
                    <a:pt x="25" y="130"/>
                    <a:pt x="25" y="130"/>
                  </a:cubicBezTo>
                  <a:cubicBezTo>
                    <a:pt x="17" y="130"/>
                    <a:pt x="10" y="124"/>
                    <a:pt x="10" y="115"/>
                  </a:cubicBezTo>
                  <a:close/>
                  <a:moveTo>
                    <a:pt x="10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0" y="81"/>
                    <a:pt x="10" y="81"/>
                    <a:pt x="10" y="81"/>
                  </a:cubicBezTo>
                  <a:lnTo>
                    <a:pt x="10" y="60"/>
                  </a:lnTo>
                  <a:close/>
                  <a:moveTo>
                    <a:pt x="0" y="26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0" y="17"/>
                    <a:pt x="17" y="10"/>
                    <a:pt x="25" y="1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lose/>
                  <a:moveTo>
                    <a:pt x="10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0" y="108"/>
                    <a:pt x="10" y="108"/>
                    <a:pt x="10" y="108"/>
                  </a:cubicBezTo>
                  <a:lnTo>
                    <a:pt x="10" y="87"/>
                  </a:lnTo>
                  <a:close/>
                  <a:moveTo>
                    <a:pt x="10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4"/>
                    <a:pt x="10" y="54"/>
                    <a:pt x="10" y="54"/>
                  </a:cubicBezTo>
                  <a:lnTo>
                    <a:pt x="10" y="33"/>
                  </a:lnTo>
                  <a:close/>
                  <a:moveTo>
                    <a:pt x="140" y="42"/>
                  </a:moveTo>
                  <a:cubicBezTo>
                    <a:pt x="137" y="46"/>
                    <a:pt x="135" y="50"/>
                    <a:pt x="132" y="54"/>
                  </a:cubicBezTo>
                  <a:cubicBezTo>
                    <a:pt x="140" y="54"/>
                    <a:pt x="140" y="54"/>
                    <a:pt x="140" y="54"/>
                  </a:cubicBezTo>
                  <a:lnTo>
                    <a:pt x="140" y="42"/>
                  </a:lnTo>
                  <a:close/>
                  <a:moveTo>
                    <a:pt x="107" y="9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6" y="10"/>
                    <a:pt x="106" y="9"/>
                    <a:pt x="107" y="9"/>
                  </a:cubicBezTo>
                  <a:close/>
                  <a:moveTo>
                    <a:pt x="32" y="141"/>
                  </a:moveTo>
                  <a:cubicBezTo>
                    <a:pt x="53" y="141"/>
                    <a:pt x="53" y="141"/>
                    <a:pt x="53" y="141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32" y="131"/>
                    <a:pt x="32" y="131"/>
                    <a:pt x="32" y="131"/>
                  </a:cubicBezTo>
                  <a:lnTo>
                    <a:pt x="32" y="141"/>
                  </a:lnTo>
                  <a:close/>
                  <a:moveTo>
                    <a:pt x="130" y="108"/>
                  </a:moveTo>
                  <a:cubicBezTo>
                    <a:pt x="140" y="108"/>
                    <a:pt x="140" y="108"/>
                    <a:pt x="140" y="108"/>
                  </a:cubicBezTo>
                  <a:cubicBezTo>
                    <a:pt x="140" y="87"/>
                    <a:pt x="140" y="87"/>
                    <a:pt x="140" y="87"/>
                  </a:cubicBezTo>
                  <a:cubicBezTo>
                    <a:pt x="130" y="87"/>
                    <a:pt x="130" y="87"/>
                    <a:pt x="130" y="87"/>
                  </a:cubicBezTo>
                  <a:lnTo>
                    <a:pt x="130" y="108"/>
                  </a:lnTo>
                  <a:close/>
                  <a:moveTo>
                    <a:pt x="115" y="130"/>
                  </a:moveTo>
                  <a:cubicBezTo>
                    <a:pt x="115" y="140"/>
                    <a:pt x="115" y="140"/>
                    <a:pt x="115" y="140"/>
                  </a:cubicBezTo>
                  <a:cubicBezTo>
                    <a:pt x="129" y="140"/>
                    <a:pt x="140" y="129"/>
                    <a:pt x="140" y="115"/>
                  </a:cubicBezTo>
                  <a:cubicBezTo>
                    <a:pt x="130" y="115"/>
                    <a:pt x="130" y="115"/>
                    <a:pt x="130" y="115"/>
                  </a:cubicBezTo>
                  <a:cubicBezTo>
                    <a:pt x="130" y="124"/>
                    <a:pt x="123" y="130"/>
                    <a:pt x="115" y="130"/>
                  </a:cubicBezTo>
                  <a:close/>
                  <a:moveTo>
                    <a:pt x="130" y="60"/>
                  </a:moveTo>
                  <a:cubicBezTo>
                    <a:pt x="130" y="81"/>
                    <a:pt x="130" y="81"/>
                    <a:pt x="130" y="81"/>
                  </a:cubicBezTo>
                  <a:cubicBezTo>
                    <a:pt x="140" y="81"/>
                    <a:pt x="140" y="81"/>
                    <a:pt x="140" y="81"/>
                  </a:cubicBezTo>
                  <a:cubicBezTo>
                    <a:pt x="140" y="60"/>
                    <a:pt x="140" y="60"/>
                    <a:pt x="140" y="60"/>
                  </a:cubicBezTo>
                  <a:lnTo>
                    <a:pt x="130" y="60"/>
                  </a:lnTo>
                  <a:close/>
                  <a:moveTo>
                    <a:pt x="32" y="10"/>
                  </a:moveTo>
                  <a:cubicBezTo>
                    <a:pt x="53" y="10"/>
                    <a:pt x="53" y="10"/>
                    <a:pt x="53" y="1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10"/>
                  </a:lnTo>
                  <a:close/>
                  <a:moveTo>
                    <a:pt x="60" y="10"/>
                  </a:moveTo>
                  <a:cubicBezTo>
                    <a:pt x="80" y="10"/>
                    <a:pt x="80" y="10"/>
                    <a:pt x="80" y="1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10"/>
                  </a:lnTo>
                  <a:close/>
                  <a:moveTo>
                    <a:pt x="60" y="141"/>
                  </a:moveTo>
                  <a:cubicBezTo>
                    <a:pt x="80" y="141"/>
                    <a:pt x="80" y="141"/>
                    <a:pt x="80" y="141"/>
                  </a:cubicBezTo>
                  <a:cubicBezTo>
                    <a:pt x="80" y="131"/>
                    <a:pt x="80" y="131"/>
                    <a:pt x="80" y="131"/>
                  </a:cubicBezTo>
                  <a:cubicBezTo>
                    <a:pt x="60" y="131"/>
                    <a:pt x="60" y="131"/>
                    <a:pt x="60" y="131"/>
                  </a:cubicBezTo>
                  <a:lnTo>
                    <a:pt x="60" y="141"/>
                  </a:lnTo>
                  <a:close/>
                  <a:moveTo>
                    <a:pt x="87" y="141"/>
                  </a:moveTo>
                  <a:cubicBezTo>
                    <a:pt x="107" y="141"/>
                    <a:pt x="107" y="141"/>
                    <a:pt x="107" y="141"/>
                  </a:cubicBezTo>
                  <a:cubicBezTo>
                    <a:pt x="107" y="131"/>
                    <a:pt x="107" y="131"/>
                    <a:pt x="107" y="131"/>
                  </a:cubicBezTo>
                  <a:cubicBezTo>
                    <a:pt x="87" y="131"/>
                    <a:pt x="87" y="131"/>
                    <a:pt x="87" y="131"/>
                  </a:cubicBezTo>
                  <a:lnTo>
                    <a:pt x="87" y="141"/>
                  </a:lnTo>
                  <a:close/>
                </a:path>
              </a:pathLst>
            </a:custGeom>
            <a:solidFill>
              <a:srgbClr val="D1B99D"/>
            </a:solidFill>
            <a:ln>
              <a:solidFill>
                <a:schemeClr val="accent1"/>
              </a:solidFill>
            </a:ln>
          </p:spPr>
          <p:txBody>
            <a:bodyPr/>
            <a:lstStyle/>
            <a:p>
              <a:pPr defTabSz="685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400">
                <a:solidFill>
                  <a:schemeClr val="accent1"/>
                </a:solidFill>
                <a:latin typeface="+mn-lt"/>
                <a:ea typeface="+mn-ea"/>
              </a:endParaRPr>
            </a:p>
          </p:txBody>
        </p:sp>
        <p:sp>
          <p:nvSpPr>
            <p:cNvPr id="78" name="Freeform 133"/>
            <p:cNvSpPr/>
            <p:nvPr/>
          </p:nvSpPr>
          <p:spPr bwMode="auto">
            <a:xfrm>
              <a:off x="4687309" y="3214279"/>
              <a:ext cx="461433" cy="346670"/>
            </a:xfrm>
            <a:custGeom>
              <a:avLst/>
              <a:gdLst>
                <a:gd name="T0" fmla="*/ 150 w 154"/>
                <a:gd name="T1" fmla="*/ 0 h 133"/>
                <a:gd name="T2" fmla="*/ 54 w 154"/>
                <a:gd name="T3" fmla="*/ 84 h 133"/>
                <a:gd name="T4" fmla="*/ 17 w 154"/>
                <a:gd name="T5" fmla="*/ 54 h 133"/>
                <a:gd name="T6" fmla="*/ 0 w 154"/>
                <a:gd name="T7" fmla="*/ 68 h 133"/>
                <a:gd name="T8" fmla="*/ 65 w 154"/>
                <a:gd name="T9" fmla="*/ 133 h 133"/>
                <a:gd name="T10" fmla="*/ 154 w 154"/>
                <a:gd name="T11" fmla="*/ 9 h 133"/>
                <a:gd name="T12" fmla="*/ 150 w 154"/>
                <a:gd name="T13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" h="133">
                  <a:moveTo>
                    <a:pt x="150" y="0"/>
                  </a:moveTo>
                  <a:cubicBezTo>
                    <a:pt x="104" y="29"/>
                    <a:pt x="69" y="65"/>
                    <a:pt x="54" y="8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65" y="133"/>
                    <a:pt x="65" y="133"/>
                    <a:pt x="65" y="133"/>
                  </a:cubicBezTo>
                  <a:cubicBezTo>
                    <a:pt x="76" y="105"/>
                    <a:pt x="111" y="49"/>
                    <a:pt x="154" y="9"/>
                  </a:cubicBezTo>
                  <a:lnTo>
                    <a:pt x="150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/>
            <a:lstStyle/>
            <a:p>
              <a:endParaRPr lang="zh-CN" altLang="en-US" sz="1400">
                <a:solidFill>
                  <a:schemeClr val="accent1"/>
                </a:solidFill>
              </a:endParaRP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7307379" y="2946754"/>
            <a:ext cx="2339661" cy="78093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500" b="1" dirty="0" smtClean="0"/>
              <a:t>网银卡调用授权</a:t>
            </a:r>
            <a:endParaRPr lang="en-US" altLang="zh-CN" sz="1500" b="1" dirty="0" smtClean="0"/>
          </a:p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500" b="1" dirty="0" smtClean="0"/>
              <a:t>机器人启用</a:t>
            </a:r>
            <a:r>
              <a:rPr lang="zh-CN" altLang="en-US" sz="1500" b="1" smtClean="0"/>
              <a:t>授权</a:t>
            </a:r>
            <a:endParaRPr lang="en-US" altLang="zh-CN" sz="1500" b="1" dirty="0" smtClean="0"/>
          </a:p>
          <a:p>
            <a:pPr marL="285750" indent="-180000">
              <a:buFont typeface="Arial" panose="020B0604020202020204" pitchFamily="34" charset="0"/>
              <a:buChar char="•"/>
            </a:pPr>
            <a:endParaRPr lang="en-US" altLang="zh-CN" sz="1100" b="1" dirty="0" smtClean="0"/>
          </a:p>
          <a:p>
            <a:pPr marL="285750" indent="-180000">
              <a:buFont typeface="Arial" panose="020B0604020202020204" pitchFamily="34" charset="0"/>
              <a:buChar char="•"/>
            </a:pPr>
            <a:endParaRPr lang="zh-CN" altLang="en-US" sz="1100" b="1" dirty="0" smtClean="0"/>
          </a:p>
        </p:txBody>
      </p:sp>
      <p:sp>
        <p:nvSpPr>
          <p:cNvPr id="73" name="Freeform 148"/>
          <p:cNvSpPr>
            <a:spLocks noEditPoints="1"/>
          </p:cNvSpPr>
          <p:nvPr/>
        </p:nvSpPr>
        <p:spPr bwMode="auto">
          <a:xfrm>
            <a:off x="9383732" y="2376783"/>
            <a:ext cx="608192" cy="473921"/>
          </a:xfrm>
          <a:custGeom>
            <a:avLst/>
            <a:gdLst>
              <a:gd name="T0" fmla="*/ 133 w 174"/>
              <a:gd name="T1" fmla="*/ 29 h 174"/>
              <a:gd name="T2" fmla="*/ 146 w 174"/>
              <a:gd name="T3" fmla="*/ 42 h 174"/>
              <a:gd name="T4" fmla="*/ 159 w 174"/>
              <a:gd name="T5" fmla="*/ 28 h 174"/>
              <a:gd name="T6" fmla="*/ 174 w 174"/>
              <a:gd name="T7" fmla="*/ 43 h 174"/>
              <a:gd name="T8" fmla="*/ 174 w 174"/>
              <a:gd name="T9" fmla="*/ 0 h 174"/>
              <a:gd name="T10" fmla="*/ 132 w 174"/>
              <a:gd name="T11" fmla="*/ 0 h 174"/>
              <a:gd name="T12" fmla="*/ 147 w 174"/>
              <a:gd name="T13" fmla="*/ 15 h 174"/>
              <a:gd name="T14" fmla="*/ 133 w 174"/>
              <a:gd name="T15" fmla="*/ 29 h 174"/>
              <a:gd name="T16" fmla="*/ 159 w 174"/>
              <a:gd name="T17" fmla="*/ 146 h 174"/>
              <a:gd name="T18" fmla="*/ 145 w 174"/>
              <a:gd name="T19" fmla="*/ 132 h 174"/>
              <a:gd name="T20" fmla="*/ 132 w 174"/>
              <a:gd name="T21" fmla="*/ 145 h 174"/>
              <a:gd name="T22" fmla="*/ 146 w 174"/>
              <a:gd name="T23" fmla="*/ 159 h 174"/>
              <a:gd name="T24" fmla="*/ 132 w 174"/>
              <a:gd name="T25" fmla="*/ 174 h 174"/>
              <a:gd name="T26" fmla="*/ 174 w 174"/>
              <a:gd name="T27" fmla="*/ 174 h 174"/>
              <a:gd name="T28" fmla="*/ 174 w 174"/>
              <a:gd name="T29" fmla="*/ 131 h 174"/>
              <a:gd name="T30" fmla="*/ 159 w 174"/>
              <a:gd name="T31" fmla="*/ 146 h 174"/>
              <a:gd name="T32" fmla="*/ 41 w 174"/>
              <a:gd name="T33" fmla="*/ 145 h 174"/>
              <a:gd name="T34" fmla="*/ 28 w 174"/>
              <a:gd name="T35" fmla="*/ 132 h 174"/>
              <a:gd name="T36" fmla="*/ 15 w 174"/>
              <a:gd name="T37" fmla="*/ 146 h 174"/>
              <a:gd name="T38" fmla="*/ 0 w 174"/>
              <a:gd name="T39" fmla="*/ 131 h 174"/>
              <a:gd name="T40" fmla="*/ 0 w 174"/>
              <a:gd name="T41" fmla="*/ 174 h 174"/>
              <a:gd name="T42" fmla="*/ 42 w 174"/>
              <a:gd name="T43" fmla="*/ 174 h 174"/>
              <a:gd name="T44" fmla="*/ 27 w 174"/>
              <a:gd name="T45" fmla="*/ 159 h 174"/>
              <a:gd name="T46" fmla="*/ 41 w 174"/>
              <a:gd name="T47" fmla="*/ 145 h 174"/>
              <a:gd name="T48" fmla="*/ 29 w 174"/>
              <a:gd name="T49" fmla="*/ 42 h 174"/>
              <a:gd name="T50" fmla="*/ 42 w 174"/>
              <a:gd name="T51" fmla="*/ 29 h 174"/>
              <a:gd name="T52" fmla="*/ 28 w 174"/>
              <a:gd name="T53" fmla="*/ 15 h 174"/>
              <a:gd name="T54" fmla="*/ 42 w 174"/>
              <a:gd name="T55" fmla="*/ 0 h 174"/>
              <a:gd name="T56" fmla="*/ 0 w 174"/>
              <a:gd name="T57" fmla="*/ 0 h 174"/>
              <a:gd name="T58" fmla="*/ 0 w 174"/>
              <a:gd name="T59" fmla="*/ 43 h 174"/>
              <a:gd name="T60" fmla="*/ 15 w 174"/>
              <a:gd name="T61" fmla="*/ 28 h 174"/>
              <a:gd name="T62" fmla="*/ 29 w 174"/>
              <a:gd name="T63" fmla="*/ 42 h 174"/>
              <a:gd name="T64" fmla="*/ 140 w 174"/>
              <a:gd name="T65" fmla="*/ 105 h 174"/>
              <a:gd name="T66" fmla="*/ 140 w 174"/>
              <a:gd name="T67" fmla="*/ 70 h 174"/>
              <a:gd name="T68" fmla="*/ 114 w 174"/>
              <a:gd name="T69" fmla="*/ 44 h 174"/>
              <a:gd name="T70" fmla="*/ 60 w 174"/>
              <a:gd name="T71" fmla="*/ 44 h 174"/>
              <a:gd name="T72" fmla="*/ 34 w 174"/>
              <a:gd name="T73" fmla="*/ 70 h 174"/>
              <a:gd name="T74" fmla="*/ 34 w 174"/>
              <a:gd name="T75" fmla="*/ 105 h 174"/>
              <a:gd name="T76" fmla="*/ 60 w 174"/>
              <a:gd name="T77" fmla="*/ 131 h 174"/>
              <a:gd name="T78" fmla="*/ 114 w 174"/>
              <a:gd name="T79" fmla="*/ 131 h 174"/>
              <a:gd name="T80" fmla="*/ 140 w 174"/>
              <a:gd name="T81" fmla="*/ 105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74" h="174">
                <a:moveTo>
                  <a:pt x="133" y="29"/>
                </a:moveTo>
                <a:cubicBezTo>
                  <a:pt x="146" y="42"/>
                  <a:pt x="146" y="42"/>
                  <a:pt x="146" y="42"/>
                </a:cubicBezTo>
                <a:cubicBezTo>
                  <a:pt x="159" y="28"/>
                  <a:pt x="159" y="28"/>
                  <a:pt x="159" y="28"/>
                </a:cubicBezTo>
                <a:cubicBezTo>
                  <a:pt x="174" y="43"/>
                  <a:pt x="174" y="43"/>
                  <a:pt x="174" y="43"/>
                </a:cubicBezTo>
                <a:cubicBezTo>
                  <a:pt x="174" y="0"/>
                  <a:pt x="174" y="0"/>
                  <a:pt x="174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47" y="15"/>
                  <a:pt x="147" y="15"/>
                  <a:pt x="147" y="15"/>
                </a:cubicBezTo>
                <a:lnTo>
                  <a:pt x="133" y="29"/>
                </a:lnTo>
                <a:close/>
                <a:moveTo>
                  <a:pt x="159" y="146"/>
                </a:moveTo>
                <a:cubicBezTo>
                  <a:pt x="145" y="132"/>
                  <a:pt x="145" y="132"/>
                  <a:pt x="145" y="132"/>
                </a:cubicBezTo>
                <a:cubicBezTo>
                  <a:pt x="132" y="145"/>
                  <a:pt x="132" y="145"/>
                  <a:pt x="132" y="145"/>
                </a:cubicBezTo>
                <a:cubicBezTo>
                  <a:pt x="146" y="159"/>
                  <a:pt x="146" y="159"/>
                  <a:pt x="146" y="159"/>
                </a:cubicBezTo>
                <a:cubicBezTo>
                  <a:pt x="132" y="174"/>
                  <a:pt x="132" y="174"/>
                  <a:pt x="132" y="174"/>
                </a:cubicBezTo>
                <a:cubicBezTo>
                  <a:pt x="174" y="174"/>
                  <a:pt x="174" y="174"/>
                  <a:pt x="174" y="174"/>
                </a:cubicBezTo>
                <a:cubicBezTo>
                  <a:pt x="174" y="131"/>
                  <a:pt x="174" y="131"/>
                  <a:pt x="174" y="131"/>
                </a:cubicBezTo>
                <a:lnTo>
                  <a:pt x="159" y="146"/>
                </a:lnTo>
                <a:close/>
                <a:moveTo>
                  <a:pt x="41" y="145"/>
                </a:moveTo>
                <a:cubicBezTo>
                  <a:pt x="28" y="132"/>
                  <a:pt x="28" y="132"/>
                  <a:pt x="28" y="132"/>
                </a:cubicBezTo>
                <a:cubicBezTo>
                  <a:pt x="15" y="146"/>
                  <a:pt x="15" y="146"/>
                  <a:pt x="15" y="146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74"/>
                  <a:pt x="0" y="174"/>
                  <a:pt x="0" y="174"/>
                </a:cubicBezTo>
                <a:cubicBezTo>
                  <a:pt x="42" y="174"/>
                  <a:pt x="42" y="174"/>
                  <a:pt x="42" y="174"/>
                </a:cubicBezTo>
                <a:cubicBezTo>
                  <a:pt x="27" y="159"/>
                  <a:pt x="27" y="159"/>
                  <a:pt x="27" y="159"/>
                </a:cubicBezTo>
                <a:lnTo>
                  <a:pt x="41" y="145"/>
                </a:lnTo>
                <a:close/>
                <a:moveTo>
                  <a:pt x="29" y="42"/>
                </a:moveTo>
                <a:cubicBezTo>
                  <a:pt x="42" y="29"/>
                  <a:pt x="42" y="29"/>
                  <a:pt x="42" y="29"/>
                </a:cubicBezTo>
                <a:cubicBezTo>
                  <a:pt x="28" y="15"/>
                  <a:pt x="28" y="15"/>
                  <a:pt x="28" y="15"/>
                </a:cubicBezTo>
                <a:cubicBezTo>
                  <a:pt x="42" y="0"/>
                  <a:pt x="42" y="0"/>
                  <a:pt x="4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3"/>
                  <a:pt x="0" y="43"/>
                  <a:pt x="0" y="43"/>
                </a:cubicBezTo>
                <a:cubicBezTo>
                  <a:pt x="15" y="28"/>
                  <a:pt x="15" y="28"/>
                  <a:pt x="15" y="28"/>
                </a:cubicBezTo>
                <a:lnTo>
                  <a:pt x="29" y="42"/>
                </a:lnTo>
                <a:close/>
                <a:moveTo>
                  <a:pt x="140" y="105"/>
                </a:moveTo>
                <a:cubicBezTo>
                  <a:pt x="140" y="70"/>
                  <a:pt x="140" y="70"/>
                  <a:pt x="140" y="70"/>
                </a:cubicBezTo>
                <a:cubicBezTo>
                  <a:pt x="140" y="56"/>
                  <a:pt x="128" y="44"/>
                  <a:pt x="114" y="44"/>
                </a:cubicBezTo>
                <a:cubicBezTo>
                  <a:pt x="60" y="44"/>
                  <a:pt x="60" y="44"/>
                  <a:pt x="60" y="44"/>
                </a:cubicBezTo>
                <a:cubicBezTo>
                  <a:pt x="45" y="44"/>
                  <a:pt x="34" y="56"/>
                  <a:pt x="34" y="70"/>
                </a:cubicBezTo>
                <a:cubicBezTo>
                  <a:pt x="34" y="105"/>
                  <a:pt x="34" y="105"/>
                  <a:pt x="34" y="105"/>
                </a:cubicBezTo>
                <a:cubicBezTo>
                  <a:pt x="34" y="119"/>
                  <a:pt x="45" y="131"/>
                  <a:pt x="60" y="131"/>
                </a:cubicBezTo>
                <a:cubicBezTo>
                  <a:pt x="114" y="131"/>
                  <a:pt x="114" y="131"/>
                  <a:pt x="114" y="131"/>
                </a:cubicBezTo>
                <a:cubicBezTo>
                  <a:pt x="128" y="131"/>
                  <a:pt x="140" y="119"/>
                  <a:pt x="140" y="105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/>
          <a:lstStyle/>
          <a:p>
            <a:endParaRPr lang="zh-CN" altLang="en-US" sz="1400">
              <a:solidFill>
                <a:schemeClr val="accent1"/>
              </a:solidFill>
            </a:endParaRPr>
          </a:p>
        </p:txBody>
      </p:sp>
      <p:sp>
        <p:nvSpPr>
          <p:cNvPr id="117" name="文本框 116"/>
          <p:cNvSpPr txBox="1"/>
          <p:nvPr/>
        </p:nvSpPr>
        <p:spPr>
          <a:xfrm>
            <a:off x="7385381" y="4751515"/>
            <a:ext cx="1996645" cy="40519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sz="2200" b="1">
                <a:solidFill>
                  <a:schemeClr val="accent1"/>
                </a:solidFill>
              </a:rPr>
              <a:t>机</a:t>
            </a:r>
            <a:r>
              <a:rPr lang="zh-CN" altLang="en-US" sz="2200" b="1" smtClean="0">
                <a:solidFill>
                  <a:schemeClr val="accent1"/>
                </a:solidFill>
              </a:rPr>
              <a:t>房部署</a:t>
            </a:r>
            <a:endParaRPr lang="zh-CN" altLang="en-US" sz="2200" b="1" dirty="0" smtClean="0">
              <a:solidFill>
                <a:schemeClr val="accent1"/>
              </a:solidFill>
            </a:endParaRPr>
          </a:p>
        </p:txBody>
      </p:sp>
      <p:sp>
        <p:nvSpPr>
          <p:cNvPr id="119" name="文本框 118"/>
          <p:cNvSpPr txBox="1"/>
          <p:nvPr/>
        </p:nvSpPr>
        <p:spPr>
          <a:xfrm>
            <a:off x="7348167" y="5313671"/>
            <a:ext cx="2339661" cy="78093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500" b="1"/>
              <a:t>恒温恒湿部署环境</a:t>
            </a:r>
          </a:p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500" b="1"/>
              <a:t>7*24</a:t>
            </a:r>
            <a:r>
              <a:rPr lang="zh-CN" altLang="en-US" sz="1500" b="1"/>
              <a:t>小时全天候监</a:t>
            </a:r>
            <a:r>
              <a:rPr lang="zh-CN" altLang="en-US" sz="1500" b="1" smtClean="0"/>
              <a:t>控</a:t>
            </a:r>
            <a:endParaRPr lang="en-US" altLang="zh-CN" sz="1100" b="1" dirty="0" smtClean="0"/>
          </a:p>
          <a:p>
            <a:pPr marL="285750" indent="-180000">
              <a:buFont typeface="Arial" panose="020B0604020202020204" pitchFamily="34" charset="0"/>
              <a:buChar char="•"/>
            </a:pPr>
            <a:endParaRPr lang="zh-CN" altLang="en-US" sz="1100" b="1" dirty="0" smtClean="0"/>
          </a:p>
        </p:txBody>
      </p:sp>
      <p:sp>
        <p:nvSpPr>
          <p:cNvPr id="120" name="文本框 119"/>
          <p:cNvSpPr txBox="1"/>
          <p:nvPr/>
        </p:nvSpPr>
        <p:spPr>
          <a:xfrm>
            <a:off x="10195355" y="2384693"/>
            <a:ext cx="1996645" cy="40519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sz="2200" b="1" smtClean="0">
                <a:solidFill>
                  <a:schemeClr val="accent1"/>
                </a:solidFill>
              </a:rPr>
              <a:t>技术突破</a:t>
            </a:r>
            <a:endParaRPr lang="zh-CN" altLang="en-US" sz="2200" b="1" dirty="0" smtClean="0">
              <a:solidFill>
                <a:schemeClr val="accent1"/>
              </a:solidFill>
            </a:endParaRPr>
          </a:p>
        </p:txBody>
      </p:sp>
      <p:sp>
        <p:nvSpPr>
          <p:cNvPr id="123" name="文本框 122"/>
          <p:cNvSpPr txBox="1"/>
          <p:nvPr/>
        </p:nvSpPr>
        <p:spPr>
          <a:xfrm>
            <a:off x="10195355" y="2954982"/>
            <a:ext cx="2339661" cy="780939"/>
          </a:xfrm>
          <a:prstGeom prst="rect">
            <a:avLst/>
          </a:prstGeom>
        </p:spPr>
        <p:txBody>
          <a:bodyPr vert="horz" wrap="square" lIns="91440" tIns="45720" rIns="91440" bIns="45720" rtlCol="0">
            <a:normAutofit fontScale="92500" lnSpcReduction="10000"/>
          </a:bodyPr>
          <a:lstStyle/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500" b="1" smtClean="0"/>
              <a:t>平台作业管理</a:t>
            </a:r>
          </a:p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en-US" altLang="zh-CN" sz="1500" b="1" smtClean="0"/>
              <a:t>RPA</a:t>
            </a:r>
            <a:r>
              <a:rPr lang="zh-CN" altLang="en-US" sz="1500" b="1"/>
              <a:t>申</a:t>
            </a:r>
            <a:r>
              <a:rPr lang="zh-CN" altLang="en-US" sz="1500" b="1" smtClean="0"/>
              <a:t>请调作业</a:t>
            </a:r>
            <a:endParaRPr lang="en-US" altLang="zh-CN" sz="1100" b="1" smtClean="0"/>
          </a:p>
          <a:p>
            <a:pPr marL="285750" indent="-180000">
              <a:buFont typeface="Arial" panose="020B0604020202020204" pitchFamily="34" charset="0"/>
              <a:buChar char="•"/>
            </a:pPr>
            <a:endParaRPr lang="zh-CN" altLang="en-US" sz="1100" b="1" dirty="0" smtClean="0"/>
          </a:p>
        </p:txBody>
      </p:sp>
      <p:sp>
        <p:nvSpPr>
          <p:cNvPr id="124" name="文本框 123"/>
          <p:cNvSpPr txBox="1"/>
          <p:nvPr/>
        </p:nvSpPr>
        <p:spPr>
          <a:xfrm>
            <a:off x="10179175" y="4755512"/>
            <a:ext cx="1996645" cy="40519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105750"/>
            <a:r>
              <a:rPr lang="zh-CN" altLang="en-US" sz="2200" b="1" smtClean="0">
                <a:solidFill>
                  <a:schemeClr val="accent1"/>
                </a:solidFill>
              </a:rPr>
              <a:t>安全</a:t>
            </a:r>
            <a:r>
              <a:rPr lang="zh-CN" altLang="en-US" sz="2200" b="1">
                <a:solidFill>
                  <a:schemeClr val="accent1"/>
                </a:solidFill>
              </a:rPr>
              <a:t>加密</a:t>
            </a:r>
            <a:endParaRPr lang="zh-CN" altLang="en-US" sz="2200" b="1" dirty="0" smtClean="0">
              <a:solidFill>
                <a:schemeClr val="accent1"/>
              </a:solidFill>
            </a:endParaRPr>
          </a:p>
        </p:txBody>
      </p:sp>
      <p:sp>
        <p:nvSpPr>
          <p:cNvPr id="125" name="文本框 124"/>
          <p:cNvSpPr txBox="1"/>
          <p:nvPr/>
        </p:nvSpPr>
        <p:spPr>
          <a:xfrm>
            <a:off x="10179175" y="5313671"/>
            <a:ext cx="2339661" cy="1202117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/>
              <a:t>作业日志加密</a:t>
            </a:r>
            <a:endParaRPr lang="en-US" altLang="zh-CN" sz="1400" b="1" smtClean="0"/>
          </a:p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b="1"/>
              <a:t>界</a:t>
            </a:r>
            <a:r>
              <a:rPr lang="zh-CN" altLang="en-US" sz="1400" b="1" smtClean="0"/>
              <a:t>面加密</a:t>
            </a:r>
            <a:endParaRPr lang="en-US" altLang="zh-CN" sz="1400" b="1" smtClean="0"/>
          </a:p>
          <a:p>
            <a:pPr marL="285750" indent="-180000">
              <a:lnSpc>
                <a:spcPct val="170000"/>
              </a:lnSpc>
              <a:buFont typeface="Arial" panose="020B0604020202020204" pitchFamily="34" charset="0"/>
              <a:buChar char="•"/>
            </a:pPr>
            <a:r>
              <a:rPr lang="zh-CN" altLang="en-US" sz="1400" b="1" smtClean="0"/>
              <a:t>密码掩码转换</a:t>
            </a:r>
            <a:endParaRPr lang="zh-CN" altLang="en-US" sz="1400" b="1" dirty="0" smtClean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6731" y="4403510"/>
            <a:ext cx="3393749" cy="190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63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00930" y="170965"/>
            <a:ext cx="11478878" cy="553359"/>
          </a:xfrm>
        </p:spPr>
        <p:txBody>
          <a:bodyPr/>
          <a:lstStyle/>
          <a:p>
            <a:r>
              <a:rPr lang="zh-CN" altLang="en-US" smtClean="0"/>
              <a:t>网银卡自动盘点</a:t>
            </a:r>
            <a:endParaRPr lang="zh-CN" altLang="en-US"/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491440712"/>
              </p:ext>
            </p:extLst>
          </p:nvPr>
        </p:nvGraphicFramePr>
        <p:xfrm>
          <a:off x="9066140" y="4579479"/>
          <a:ext cx="2838154" cy="1489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圆角矩形 3"/>
          <p:cNvSpPr/>
          <p:nvPr/>
        </p:nvSpPr>
        <p:spPr>
          <a:xfrm>
            <a:off x="3499064" y="1064965"/>
            <a:ext cx="5222784" cy="5405268"/>
          </a:xfrm>
          <a:prstGeom prst="roundRect">
            <a:avLst>
              <a:gd name="adj" fmla="val 1923"/>
            </a:avLst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imes New Roman" panose="02020603050405020304" pitchFamily="18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8930721" y="1064965"/>
            <a:ext cx="3005654" cy="5405268"/>
          </a:xfrm>
          <a:prstGeom prst="rect">
            <a:avLst/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imes New Roman" panose="02020603050405020304" pitchFamily="18" charset="0"/>
            </a:endParaRPr>
          </a:p>
        </p:txBody>
      </p:sp>
      <p:sp>
        <p:nvSpPr>
          <p:cNvPr id="6" name="燕尾形 5"/>
          <p:cNvSpPr/>
          <p:nvPr/>
        </p:nvSpPr>
        <p:spPr>
          <a:xfrm>
            <a:off x="3480553" y="754189"/>
            <a:ext cx="5390582" cy="396000"/>
          </a:xfrm>
          <a:prstGeom prst="chevro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“黑科技</a:t>
            </a:r>
            <a:r>
              <a:rPr kumimoji="0" lang="en-US" altLang="zh-CN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+RPA</a:t>
            </a: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”实现网银卡自动盘点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180268" y="987125"/>
            <a:ext cx="3172951" cy="5405268"/>
          </a:xfrm>
          <a:prstGeom prst="roundRect">
            <a:avLst>
              <a:gd name="adj" fmla="val 1923"/>
            </a:avLst>
          </a:prstGeom>
          <a:noFill/>
          <a:ln w="3175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  <a:sym typeface="Times New Roman" panose="02020603050405020304" pitchFamily="18" charset="0"/>
            </a:endParaRPr>
          </a:p>
        </p:txBody>
      </p:sp>
      <p:sp>
        <p:nvSpPr>
          <p:cNvPr id="12" name="文本框 143"/>
          <p:cNvSpPr txBox="1"/>
          <p:nvPr/>
        </p:nvSpPr>
        <p:spPr>
          <a:xfrm>
            <a:off x="820536" y="1310621"/>
            <a:ext cx="2402577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三类网银卡</a:t>
            </a:r>
            <a:r>
              <a:rPr kumimoji="0" lang="en-US" altLang="zh-CN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16000+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张</a:t>
            </a:r>
            <a:endParaRPr kumimoji="0" lang="en-US" altLang="zh-CN" sz="1200" b="0" i="0" u="none" strike="noStrike" kern="600" cap="none" spc="160" normalizeH="0" baseline="0" noProof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查询卡、交易卡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：提供资金查询交易</a:t>
            </a: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服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务</a:t>
            </a:r>
            <a:endParaRPr kumimoji="0" lang="en-US" altLang="zh-CN" sz="1200" b="0" i="0" u="none" strike="noStrike" kern="600" cap="none" spc="160" normalizeH="0" baseline="0" noProof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1" i="0" u="sng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管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理卡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：配置权限、限额</a:t>
            </a:r>
            <a:endParaRPr kumimoji="0" lang="en-US" altLang="zh-CN" sz="1200" b="0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00930" y="1422054"/>
            <a:ext cx="490909" cy="7798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务</a:t>
            </a:r>
            <a:endParaRPr kumimoji="0" lang="en-US" altLang="zh-CN" sz="1200" b="1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范围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00930" y="2516124"/>
            <a:ext cx="490909" cy="5869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务要求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22900" y="2358699"/>
            <a:ext cx="24237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信息准确影响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支付</a:t>
            </a:r>
            <a:r>
              <a:rPr kumimoji="0" lang="zh-CN" altLang="en-US" sz="1200" b="1" i="0" u="sng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通过</a:t>
            </a:r>
            <a:endParaRPr kumimoji="0" lang="en-US" altLang="zh-CN" sz="1200" b="1" i="0" u="sng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每季度进行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盘点确认信息</a:t>
            </a:r>
            <a:endParaRPr kumimoji="0" lang="en-US" altLang="zh-CN" sz="1200" b="1" i="0" u="sng" strike="noStrike" kern="600" cap="none" spc="160" normalizeH="0" baseline="0" noProof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00930" y="3484345"/>
            <a:ext cx="490909" cy="10733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务痛点</a:t>
            </a:r>
            <a:endParaRPr kumimoji="0" lang="en-US" altLang="zh-CN" sz="1200" b="1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25689" y="3589875"/>
            <a:ext cx="249511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需要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逐个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进行盘点</a:t>
            </a:r>
            <a:endParaRPr kumimoji="0" lang="en-US" altLang="zh-CN" sz="1200" b="0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盘点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任务集中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，作业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机械重复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，流程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标准化高</a:t>
            </a:r>
            <a:endParaRPr kumimoji="0" lang="en-US" altLang="zh-CN" sz="1200" b="1" i="0" u="sng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323244" y="4997682"/>
            <a:ext cx="446281" cy="10397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技术</a:t>
            </a:r>
            <a:endParaRPr kumimoji="0" lang="en-US" altLang="zh-CN" sz="1200" b="1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方案</a:t>
            </a:r>
            <a:endParaRPr kumimoji="0" lang="en-US" altLang="zh-CN" sz="1200" b="1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819203" y="5072024"/>
            <a:ext cx="24024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集中箱，</a:t>
            </a:r>
            <a:r>
              <a:rPr kumimoji="0" lang="zh-CN" altLang="en-US" sz="1200" b="1" i="0" u="sng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远程调用</a:t>
            </a:r>
            <a:endParaRPr kumimoji="0" lang="en-US" altLang="zh-CN" sz="1200" b="1" i="0" u="sng" strike="noStrike" kern="600" cap="none" spc="160" normalizeH="0" baseline="0" noProof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“黑</a:t>
            </a: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科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技”赋</a:t>
            </a: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能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自动登录</a:t>
            </a:r>
            <a:endParaRPr kumimoji="0" lang="en-US" altLang="zh-CN" sz="1200" b="1" i="0" u="sng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RPA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自动</a:t>
            </a:r>
            <a:r>
              <a:rPr kumimoji="0" lang="zh-CN" altLang="en-US" sz="1200" b="1" i="0" u="sng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比</a:t>
            </a:r>
            <a:r>
              <a:rPr kumimoji="0" lang="zh-CN" altLang="en-US" sz="12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对输出</a:t>
            </a:r>
            <a:endParaRPr kumimoji="0" lang="en-US" altLang="zh-CN" sz="1200" b="1" i="0" u="sng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20" name="直接连接符 19"/>
          <p:cNvCxnSpPr/>
          <p:nvPr/>
        </p:nvCxnSpPr>
        <p:spPr>
          <a:xfrm>
            <a:off x="283679" y="2377659"/>
            <a:ext cx="2988000" cy="0"/>
          </a:xfrm>
          <a:prstGeom prst="line">
            <a:avLst/>
          </a:prstGeom>
          <a:ln w="63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283679" y="3304380"/>
            <a:ext cx="2988000" cy="0"/>
          </a:xfrm>
          <a:prstGeom prst="line">
            <a:avLst/>
          </a:prstGeom>
          <a:ln w="63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五边形 21"/>
          <p:cNvSpPr/>
          <p:nvPr/>
        </p:nvSpPr>
        <p:spPr>
          <a:xfrm>
            <a:off x="189687" y="762653"/>
            <a:ext cx="3290865" cy="396000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</a:t>
            </a: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务痛点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269253" y="4805226"/>
            <a:ext cx="2988000" cy="0"/>
          </a:xfrm>
          <a:prstGeom prst="line">
            <a:avLst/>
          </a:prstGeom>
          <a:ln w="63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圆角矩形 23"/>
          <p:cNvSpPr/>
          <p:nvPr/>
        </p:nvSpPr>
        <p:spPr>
          <a:xfrm>
            <a:off x="3725277" y="1675545"/>
            <a:ext cx="873409" cy="591819"/>
          </a:xfrm>
          <a:prstGeom prst="roundRect">
            <a:avLst>
              <a:gd name="adj" fmla="val 8529"/>
            </a:avLst>
          </a:prstGeom>
          <a:solidFill>
            <a:srgbClr val="F25822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3693036" y="1710985"/>
            <a:ext cx="94472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</a:t>
            </a:r>
            <a:r>
              <a:rPr kumimoji="0" lang="zh-CN" altLang="en-US" sz="1200" b="1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银卡</a:t>
            </a:r>
            <a:endParaRPr kumimoji="0" lang="en-US" altLang="zh-CN" sz="1200" b="1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远程调用</a:t>
            </a:r>
            <a:endParaRPr kumimoji="0" lang="zh-CN" altLang="en-US" sz="1200" b="1" i="0" u="none" strike="noStrike" kern="600" cap="none" spc="160" normalizeH="0" baseline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6" name="文本框 273"/>
          <p:cNvSpPr txBox="1"/>
          <p:nvPr/>
        </p:nvSpPr>
        <p:spPr>
          <a:xfrm>
            <a:off x="4645041" y="2603140"/>
            <a:ext cx="3675531" cy="301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marR="0" lvl="0" indent="-1714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200" i="0" u="none" strike="noStrike" kern="600" cap="none" spc="160" normalizeH="0" baseline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通过</a:t>
            </a:r>
            <a:r>
              <a:rPr kumimoji="0" lang="en-US" altLang="zh-CN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OCR</a:t>
            </a:r>
            <a:r>
              <a:rPr kumimoji="0" lang="zh-CN" altLang="en-US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识别</a:t>
            </a: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，实</a:t>
            </a: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现</a:t>
            </a:r>
            <a:r>
              <a:rPr kumimoji="0" lang="zh-CN" altLang="en-US" sz="1200" b="0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</a:t>
            </a:r>
            <a:r>
              <a:rPr kumimoji="0" lang="zh-CN" altLang="en-US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滑块自动登</a:t>
            </a:r>
            <a:r>
              <a:rPr kumimoji="0" lang="zh-CN" altLang="en-US" sz="1200" b="1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录</a:t>
            </a:r>
            <a:endParaRPr kumimoji="0" lang="zh-CN" altLang="en-US" sz="1200" b="1" i="0" u="none" strike="noStrike" kern="600" cap="none" spc="160" normalizeH="0" baseline="0" noProof="0" dirty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27" name="文本框 273"/>
          <p:cNvSpPr txBox="1"/>
          <p:nvPr/>
        </p:nvSpPr>
        <p:spPr>
          <a:xfrm>
            <a:off x="4693031" y="1696586"/>
            <a:ext cx="227490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集中箱，支持网银卡远程调用</a:t>
            </a:r>
            <a:endParaRPr kumimoji="0" lang="en-US" altLang="zh-CN" sz="1200" b="0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7038046" y="1670818"/>
            <a:ext cx="1193519" cy="624447"/>
            <a:chOff x="5054825" y="1014065"/>
            <a:chExt cx="2654761" cy="1313620"/>
          </a:xfrm>
        </p:grpSpPr>
        <p:sp>
          <p:nvSpPr>
            <p:cNvPr id="29" name="server_182394"/>
            <p:cNvSpPr>
              <a:spLocks noChangeAspect="1"/>
            </p:cNvSpPr>
            <p:nvPr/>
          </p:nvSpPr>
          <p:spPr bwMode="auto">
            <a:xfrm>
              <a:off x="5054825" y="1059093"/>
              <a:ext cx="383821" cy="406718"/>
            </a:xfrm>
            <a:custGeom>
              <a:avLst/>
              <a:gdLst>
                <a:gd name="connsiteX0" fmla="*/ 325000 h 606722"/>
                <a:gd name="connsiteY0" fmla="*/ 325000 h 606722"/>
                <a:gd name="connsiteX1" fmla="*/ 325000 h 606722"/>
                <a:gd name="connsiteY1" fmla="*/ 325000 h 606722"/>
                <a:gd name="connsiteX2" fmla="*/ 325000 h 606722"/>
                <a:gd name="connsiteY2" fmla="*/ 325000 h 606722"/>
                <a:gd name="connsiteX3" fmla="*/ 325000 h 606722"/>
                <a:gd name="connsiteY3" fmla="*/ 325000 h 606722"/>
                <a:gd name="connsiteX4" fmla="*/ 325000 h 606722"/>
                <a:gd name="connsiteY4" fmla="*/ 325000 h 606722"/>
                <a:gd name="connsiteX5" fmla="*/ 325000 h 606722"/>
                <a:gd name="connsiteY5" fmla="*/ 325000 h 606722"/>
                <a:gd name="connsiteX6" fmla="*/ 325000 h 606722"/>
                <a:gd name="connsiteY6" fmla="*/ 325000 h 606722"/>
                <a:gd name="connsiteX7" fmla="*/ 325000 h 606722"/>
                <a:gd name="connsiteY7" fmla="*/ 325000 h 606722"/>
                <a:gd name="connsiteX8" fmla="*/ 325000 h 606722"/>
                <a:gd name="connsiteY8" fmla="*/ 325000 h 606722"/>
                <a:gd name="connsiteX9" fmla="*/ 325000 h 606722"/>
                <a:gd name="connsiteY9" fmla="*/ 325000 h 606722"/>
                <a:gd name="connsiteX10" fmla="*/ 325000 h 606722"/>
                <a:gd name="connsiteY10" fmla="*/ 325000 h 606722"/>
                <a:gd name="connsiteX11" fmla="*/ 325000 h 606722"/>
                <a:gd name="connsiteY11" fmla="*/ 325000 h 606722"/>
                <a:gd name="connsiteX12" fmla="*/ 325000 h 606722"/>
                <a:gd name="connsiteY12" fmla="*/ 325000 h 606722"/>
                <a:gd name="connsiteX13" fmla="*/ 325000 h 606722"/>
                <a:gd name="connsiteY13" fmla="*/ 325000 h 606722"/>
                <a:gd name="connsiteX14" fmla="*/ 325000 h 606722"/>
                <a:gd name="connsiteY14" fmla="*/ 325000 h 606722"/>
                <a:gd name="connsiteX15" fmla="*/ 325000 h 606722"/>
                <a:gd name="connsiteY15" fmla="*/ 325000 h 606722"/>
                <a:gd name="connsiteX16" fmla="*/ 325000 h 606722"/>
                <a:gd name="connsiteY16" fmla="*/ 325000 h 606722"/>
                <a:gd name="connsiteX17" fmla="*/ 325000 h 606722"/>
                <a:gd name="connsiteY17" fmla="*/ 325000 h 606722"/>
                <a:gd name="connsiteX18" fmla="*/ 325000 h 606722"/>
                <a:gd name="connsiteY18" fmla="*/ 325000 h 606722"/>
                <a:gd name="connsiteX19" fmla="*/ 325000 h 606722"/>
                <a:gd name="connsiteY19" fmla="*/ 325000 h 606722"/>
                <a:gd name="connsiteX20" fmla="*/ 325000 h 606722"/>
                <a:gd name="connsiteY20" fmla="*/ 325000 h 606722"/>
                <a:gd name="connsiteX21" fmla="*/ 325000 h 606722"/>
                <a:gd name="connsiteY21" fmla="*/ 325000 h 606722"/>
                <a:gd name="connsiteX22" fmla="*/ 325000 h 606722"/>
                <a:gd name="connsiteY22" fmla="*/ 325000 h 606722"/>
                <a:gd name="connsiteX23" fmla="*/ 325000 h 606722"/>
                <a:gd name="connsiteY23" fmla="*/ 325000 h 606722"/>
                <a:gd name="connsiteX24" fmla="*/ 325000 h 606722"/>
                <a:gd name="connsiteY24" fmla="*/ 325000 h 606722"/>
                <a:gd name="connsiteX25" fmla="*/ 325000 h 606722"/>
                <a:gd name="connsiteY25" fmla="*/ 325000 h 606722"/>
                <a:gd name="connsiteX26" fmla="*/ 325000 h 606722"/>
                <a:gd name="connsiteY26" fmla="*/ 325000 h 606722"/>
                <a:gd name="connsiteX27" fmla="*/ 325000 h 606722"/>
                <a:gd name="connsiteY27" fmla="*/ 325000 h 606722"/>
                <a:gd name="connsiteX28" fmla="*/ 325000 h 606722"/>
                <a:gd name="connsiteY28" fmla="*/ 325000 h 606722"/>
                <a:gd name="connsiteX29" fmla="*/ 325000 h 606722"/>
                <a:gd name="connsiteY29" fmla="*/ 325000 h 606722"/>
                <a:gd name="connsiteX30" fmla="*/ 325000 h 606722"/>
                <a:gd name="connsiteY30" fmla="*/ 325000 h 606722"/>
                <a:gd name="connsiteX31" fmla="*/ 325000 h 606722"/>
                <a:gd name="connsiteY31" fmla="*/ 325000 h 606722"/>
                <a:gd name="connsiteX32" fmla="*/ 325000 h 606722"/>
                <a:gd name="connsiteY32" fmla="*/ 325000 h 606722"/>
                <a:gd name="connsiteX33" fmla="*/ 325000 h 606722"/>
                <a:gd name="connsiteY33" fmla="*/ 325000 h 606722"/>
                <a:gd name="connsiteX34" fmla="*/ 325000 h 606722"/>
                <a:gd name="connsiteY34" fmla="*/ 325000 h 606722"/>
                <a:gd name="connsiteX35" fmla="*/ 325000 h 606722"/>
                <a:gd name="connsiteY35" fmla="*/ 325000 h 606722"/>
                <a:gd name="connsiteX36" fmla="*/ 325000 h 606722"/>
                <a:gd name="connsiteY36" fmla="*/ 325000 h 606722"/>
                <a:gd name="connsiteX37" fmla="*/ 325000 h 606722"/>
                <a:gd name="connsiteY37" fmla="*/ 325000 h 606722"/>
                <a:gd name="connsiteX38" fmla="*/ 325000 h 606722"/>
                <a:gd name="connsiteY38" fmla="*/ 325000 h 606722"/>
                <a:gd name="connsiteX39" fmla="*/ 325000 h 606722"/>
                <a:gd name="connsiteY39" fmla="*/ 325000 h 606722"/>
                <a:gd name="connsiteX40" fmla="*/ 325000 h 606722"/>
                <a:gd name="connsiteY40" fmla="*/ 325000 h 606722"/>
                <a:gd name="connsiteX41" fmla="*/ 325000 h 606722"/>
                <a:gd name="connsiteY41" fmla="*/ 325000 h 606722"/>
                <a:gd name="connsiteX42" fmla="*/ 325000 h 606722"/>
                <a:gd name="connsiteY42" fmla="*/ 325000 h 606722"/>
                <a:gd name="connsiteX43" fmla="*/ 325000 h 606722"/>
                <a:gd name="connsiteY43" fmla="*/ 325000 h 606722"/>
                <a:gd name="connsiteX44" fmla="*/ 325000 h 606722"/>
                <a:gd name="connsiteY44" fmla="*/ 325000 h 606722"/>
                <a:gd name="connsiteX45" fmla="*/ 325000 h 606722"/>
                <a:gd name="connsiteY45" fmla="*/ 325000 h 606722"/>
                <a:gd name="connsiteX46" fmla="*/ 325000 h 606722"/>
                <a:gd name="connsiteY46" fmla="*/ 325000 h 606722"/>
                <a:gd name="connsiteX47" fmla="*/ 325000 h 606722"/>
                <a:gd name="connsiteY47" fmla="*/ 325000 h 606722"/>
                <a:gd name="connsiteX48" fmla="*/ 325000 h 606722"/>
                <a:gd name="connsiteY48" fmla="*/ 325000 h 606722"/>
                <a:gd name="connsiteX49" fmla="*/ 325000 h 606722"/>
                <a:gd name="connsiteY49" fmla="*/ 325000 h 606722"/>
                <a:gd name="connsiteX50" fmla="*/ 325000 h 606722"/>
                <a:gd name="connsiteY50" fmla="*/ 325000 h 606722"/>
                <a:gd name="connsiteX51" fmla="*/ 325000 h 606722"/>
                <a:gd name="connsiteY51" fmla="*/ 325000 h 606722"/>
                <a:gd name="connsiteX52" fmla="*/ 325000 h 606722"/>
                <a:gd name="connsiteY52" fmla="*/ 325000 h 606722"/>
                <a:gd name="connsiteX53" fmla="*/ 325000 h 606722"/>
                <a:gd name="connsiteY53" fmla="*/ 325000 h 606722"/>
                <a:gd name="connsiteX54" fmla="*/ 325000 h 606722"/>
                <a:gd name="connsiteY54" fmla="*/ 325000 h 606722"/>
                <a:gd name="connsiteX55" fmla="*/ 325000 h 606722"/>
                <a:gd name="connsiteY55" fmla="*/ 325000 h 606722"/>
                <a:gd name="connsiteX56" fmla="*/ 325000 h 606722"/>
                <a:gd name="connsiteY56" fmla="*/ 325000 h 606722"/>
                <a:gd name="connsiteX57" fmla="*/ 325000 h 606722"/>
                <a:gd name="connsiteY57" fmla="*/ 325000 h 606722"/>
                <a:gd name="connsiteX58" fmla="*/ 325000 h 606722"/>
                <a:gd name="connsiteY58" fmla="*/ 325000 h 606722"/>
                <a:gd name="connsiteX59" fmla="*/ 325000 h 606722"/>
                <a:gd name="connsiteY59" fmla="*/ 325000 h 606722"/>
                <a:gd name="connsiteX60" fmla="*/ 325000 h 606722"/>
                <a:gd name="connsiteY60" fmla="*/ 325000 h 606722"/>
                <a:gd name="connsiteX61" fmla="*/ 325000 h 606722"/>
                <a:gd name="connsiteY61" fmla="*/ 325000 h 606722"/>
                <a:gd name="connsiteX62" fmla="*/ 325000 h 606722"/>
                <a:gd name="connsiteY62" fmla="*/ 325000 h 606722"/>
                <a:gd name="connsiteX63" fmla="*/ 325000 h 606722"/>
                <a:gd name="connsiteY63" fmla="*/ 325000 h 606722"/>
                <a:gd name="connsiteX64" fmla="*/ 325000 h 606722"/>
                <a:gd name="connsiteY64" fmla="*/ 325000 h 606722"/>
                <a:gd name="connsiteX65" fmla="*/ 325000 h 606722"/>
                <a:gd name="connsiteY65" fmla="*/ 325000 h 606722"/>
                <a:gd name="connsiteX66" fmla="*/ 325000 h 606722"/>
                <a:gd name="connsiteY66" fmla="*/ 325000 h 606722"/>
                <a:gd name="connsiteX67" fmla="*/ 325000 h 606722"/>
                <a:gd name="connsiteY67" fmla="*/ 325000 h 606722"/>
                <a:gd name="connsiteX68" fmla="*/ 325000 h 606722"/>
                <a:gd name="connsiteY68" fmla="*/ 325000 h 606722"/>
                <a:gd name="connsiteX69" fmla="*/ 325000 h 606722"/>
                <a:gd name="connsiteY69" fmla="*/ 325000 h 606722"/>
                <a:gd name="connsiteX70" fmla="*/ 325000 h 606722"/>
                <a:gd name="connsiteY70" fmla="*/ 325000 h 606722"/>
                <a:gd name="connsiteX71" fmla="*/ 325000 h 606722"/>
                <a:gd name="connsiteY71" fmla="*/ 325000 h 606722"/>
                <a:gd name="connsiteX72" fmla="*/ 325000 h 606722"/>
                <a:gd name="connsiteY72" fmla="*/ 325000 h 606722"/>
                <a:gd name="connsiteX73" fmla="*/ 325000 h 606722"/>
                <a:gd name="connsiteY73" fmla="*/ 325000 h 606722"/>
                <a:gd name="connsiteX74" fmla="*/ 325000 h 606722"/>
                <a:gd name="connsiteY74" fmla="*/ 325000 h 606722"/>
                <a:gd name="connsiteX75" fmla="*/ 325000 h 606722"/>
                <a:gd name="connsiteY75" fmla="*/ 325000 h 606722"/>
                <a:gd name="connsiteX76" fmla="*/ 325000 h 606722"/>
                <a:gd name="connsiteY76" fmla="*/ 325000 h 606722"/>
                <a:gd name="connsiteX77" fmla="*/ 325000 h 606722"/>
                <a:gd name="connsiteY77" fmla="*/ 325000 h 606722"/>
                <a:gd name="connsiteX78" fmla="*/ 325000 h 606722"/>
                <a:gd name="connsiteY78" fmla="*/ 325000 h 606722"/>
                <a:gd name="connsiteX79" fmla="*/ 325000 h 606722"/>
                <a:gd name="connsiteY79" fmla="*/ 325000 h 606722"/>
                <a:gd name="connsiteX80" fmla="*/ 325000 h 606722"/>
                <a:gd name="connsiteY80" fmla="*/ 325000 h 606722"/>
                <a:gd name="connsiteX81" fmla="*/ 325000 h 606722"/>
                <a:gd name="connsiteY81" fmla="*/ 325000 h 606722"/>
                <a:gd name="connsiteX82" fmla="*/ 325000 h 606722"/>
                <a:gd name="connsiteY82" fmla="*/ 325000 h 606722"/>
                <a:gd name="connsiteX83" fmla="*/ 325000 h 606722"/>
                <a:gd name="connsiteY83" fmla="*/ 325000 h 606722"/>
                <a:gd name="connsiteX84" fmla="*/ 325000 h 606722"/>
                <a:gd name="connsiteY84" fmla="*/ 325000 h 606722"/>
                <a:gd name="connsiteX85" fmla="*/ 325000 h 606722"/>
                <a:gd name="connsiteY85" fmla="*/ 325000 h 606722"/>
                <a:gd name="connsiteX86" fmla="*/ 325000 h 606722"/>
                <a:gd name="connsiteY86" fmla="*/ 325000 h 606722"/>
                <a:gd name="connsiteX87" fmla="*/ 325000 h 606722"/>
                <a:gd name="connsiteY87" fmla="*/ 325000 h 606722"/>
                <a:gd name="connsiteX88" fmla="*/ 325000 h 606722"/>
                <a:gd name="connsiteY88" fmla="*/ 325000 h 606722"/>
                <a:gd name="connsiteX89" fmla="*/ 325000 h 606722"/>
                <a:gd name="connsiteY89" fmla="*/ 325000 h 606722"/>
                <a:gd name="connsiteX90" fmla="*/ 325000 h 606722"/>
                <a:gd name="connsiteY90" fmla="*/ 325000 h 606722"/>
                <a:gd name="connsiteX91" fmla="*/ 325000 h 606722"/>
                <a:gd name="connsiteY91" fmla="*/ 325000 h 606722"/>
                <a:gd name="connsiteX92" fmla="*/ 325000 h 606722"/>
                <a:gd name="connsiteY92" fmla="*/ 325000 h 606722"/>
                <a:gd name="connsiteX93" fmla="*/ 325000 h 606722"/>
                <a:gd name="connsiteY93" fmla="*/ 325000 h 606722"/>
                <a:gd name="connsiteX94" fmla="*/ 325000 h 606722"/>
                <a:gd name="connsiteY94" fmla="*/ 325000 h 606722"/>
                <a:gd name="connsiteX95" fmla="*/ 325000 h 606722"/>
                <a:gd name="connsiteY95" fmla="*/ 325000 h 606722"/>
                <a:gd name="connsiteX96" fmla="*/ 325000 h 606722"/>
                <a:gd name="connsiteY96" fmla="*/ 325000 h 606722"/>
                <a:gd name="connsiteX97" fmla="*/ 325000 h 606722"/>
                <a:gd name="connsiteY97" fmla="*/ 325000 h 606722"/>
                <a:gd name="connsiteX98" fmla="*/ 325000 h 606722"/>
                <a:gd name="connsiteY98" fmla="*/ 325000 h 606722"/>
                <a:gd name="connsiteX99" fmla="*/ 325000 h 606722"/>
                <a:gd name="connsiteY99" fmla="*/ 325000 h 606722"/>
                <a:gd name="connsiteX100" fmla="*/ 325000 h 606722"/>
                <a:gd name="connsiteY100" fmla="*/ 325000 h 606722"/>
                <a:gd name="connsiteX101" fmla="*/ 325000 h 606722"/>
                <a:gd name="connsiteY101" fmla="*/ 325000 h 606722"/>
                <a:gd name="connsiteX102" fmla="*/ 325000 h 606722"/>
                <a:gd name="connsiteY102" fmla="*/ 325000 h 606722"/>
                <a:gd name="connsiteX103" fmla="*/ 325000 h 606722"/>
                <a:gd name="connsiteY103" fmla="*/ 325000 h 606722"/>
                <a:gd name="connsiteX104" fmla="*/ 325000 h 606722"/>
                <a:gd name="connsiteY104" fmla="*/ 325000 h 606722"/>
                <a:gd name="connsiteX105" fmla="*/ 325000 h 606722"/>
                <a:gd name="connsiteY105" fmla="*/ 325000 h 606722"/>
                <a:gd name="connsiteX106" fmla="*/ 325000 h 606722"/>
                <a:gd name="connsiteY106" fmla="*/ 325000 h 606722"/>
                <a:gd name="connsiteX107" fmla="*/ 325000 h 606722"/>
                <a:gd name="connsiteY107" fmla="*/ 325000 h 606722"/>
                <a:gd name="connsiteX108" fmla="*/ 325000 h 606722"/>
                <a:gd name="connsiteY108" fmla="*/ 325000 h 606722"/>
                <a:gd name="connsiteX109" fmla="*/ 325000 h 606722"/>
                <a:gd name="connsiteY109" fmla="*/ 325000 h 606722"/>
                <a:gd name="connsiteX110" fmla="*/ 325000 h 606722"/>
                <a:gd name="connsiteY110" fmla="*/ 325000 h 606722"/>
                <a:gd name="connsiteX111" fmla="*/ 325000 h 606722"/>
                <a:gd name="connsiteY111" fmla="*/ 325000 h 606722"/>
                <a:gd name="connsiteX112" fmla="*/ 325000 h 606722"/>
                <a:gd name="connsiteY112" fmla="*/ 325000 h 606722"/>
                <a:gd name="connsiteX113" fmla="*/ 325000 h 606722"/>
                <a:gd name="connsiteY113" fmla="*/ 325000 h 606722"/>
                <a:gd name="connsiteX114" fmla="*/ 325000 h 606722"/>
                <a:gd name="connsiteY114" fmla="*/ 325000 h 606722"/>
                <a:gd name="connsiteX115" fmla="*/ 325000 h 606722"/>
                <a:gd name="connsiteY115" fmla="*/ 325000 h 606722"/>
                <a:gd name="connsiteX116" fmla="*/ 325000 h 606722"/>
                <a:gd name="connsiteY116" fmla="*/ 325000 h 606722"/>
                <a:gd name="connsiteX117" fmla="*/ 325000 h 606722"/>
                <a:gd name="connsiteY117" fmla="*/ 325000 h 606722"/>
                <a:gd name="connsiteX118" fmla="*/ 325000 h 606722"/>
                <a:gd name="connsiteY118" fmla="*/ 325000 h 606722"/>
                <a:gd name="connsiteX119" fmla="*/ 325000 h 606722"/>
                <a:gd name="connsiteY119" fmla="*/ 325000 h 606722"/>
                <a:gd name="connsiteX120" fmla="*/ 325000 h 606722"/>
                <a:gd name="connsiteY120" fmla="*/ 325000 h 606722"/>
                <a:gd name="connsiteX121" fmla="*/ 325000 h 606722"/>
                <a:gd name="connsiteY121" fmla="*/ 325000 h 606722"/>
                <a:gd name="connsiteX122" fmla="*/ 325000 h 606722"/>
                <a:gd name="connsiteY122" fmla="*/ 325000 h 606722"/>
                <a:gd name="connsiteX123" fmla="*/ 325000 h 606722"/>
                <a:gd name="connsiteY123" fmla="*/ 325000 h 606722"/>
                <a:gd name="connsiteX124" fmla="*/ 325000 h 606722"/>
                <a:gd name="connsiteY124" fmla="*/ 325000 h 606722"/>
                <a:gd name="connsiteX125" fmla="*/ 325000 h 606722"/>
                <a:gd name="connsiteY125" fmla="*/ 325000 h 606722"/>
                <a:gd name="connsiteX126" fmla="*/ 325000 h 606722"/>
                <a:gd name="connsiteY126" fmla="*/ 325000 h 606722"/>
                <a:gd name="connsiteX127" fmla="*/ 325000 h 606722"/>
                <a:gd name="connsiteY127" fmla="*/ 325000 h 606722"/>
                <a:gd name="connsiteX128" fmla="*/ 325000 h 606722"/>
                <a:gd name="connsiteY128" fmla="*/ 325000 h 606722"/>
                <a:gd name="connsiteX129" fmla="*/ 325000 h 606722"/>
                <a:gd name="connsiteY129" fmla="*/ 325000 h 606722"/>
                <a:gd name="connsiteX130" fmla="*/ 325000 h 606722"/>
                <a:gd name="connsiteY130" fmla="*/ 325000 h 606722"/>
                <a:gd name="connsiteX131" fmla="*/ 325000 h 606722"/>
                <a:gd name="connsiteY131" fmla="*/ 325000 h 606722"/>
                <a:gd name="connsiteX132" fmla="*/ 325000 h 606722"/>
                <a:gd name="connsiteY132" fmla="*/ 325000 h 606722"/>
                <a:gd name="connsiteX133" fmla="*/ 325000 h 606722"/>
                <a:gd name="connsiteY133" fmla="*/ 325000 h 606722"/>
                <a:gd name="connsiteX134" fmla="*/ 325000 h 606722"/>
                <a:gd name="connsiteY134" fmla="*/ 325000 h 606722"/>
                <a:gd name="connsiteX135" fmla="*/ 325000 h 606722"/>
                <a:gd name="connsiteY135" fmla="*/ 325000 h 606722"/>
                <a:gd name="connsiteX136" fmla="*/ 325000 h 606722"/>
                <a:gd name="connsiteY136" fmla="*/ 32500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607639" h="606722">
                  <a:moveTo>
                    <a:pt x="486081" y="475259"/>
                  </a:moveTo>
                  <a:cubicBezTo>
                    <a:pt x="497298" y="475259"/>
                    <a:pt x="506378" y="484329"/>
                    <a:pt x="506378" y="495443"/>
                  </a:cubicBezTo>
                  <a:cubicBezTo>
                    <a:pt x="506378" y="502912"/>
                    <a:pt x="502283" y="509403"/>
                    <a:pt x="496230" y="512871"/>
                  </a:cubicBezTo>
                  <a:lnTo>
                    <a:pt x="496230" y="535900"/>
                  </a:lnTo>
                  <a:cubicBezTo>
                    <a:pt x="496230" y="541502"/>
                    <a:pt x="491690" y="546036"/>
                    <a:pt x="486081" y="546036"/>
                  </a:cubicBezTo>
                  <a:cubicBezTo>
                    <a:pt x="480562" y="546036"/>
                    <a:pt x="476022" y="541502"/>
                    <a:pt x="476022" y="535900"/>
                  </a:cubicBezTo>
                  <a:lnTo>
                    <a:pt x="476022" y="512871"/>
                  </a:lnTo>
                  <a:cubicBezTo>
                    <a:pt x="469968" y="509403"/>
                    <a:pt x="465873" y="502912"/>
                    <a:pt x="465873" y="495443"/>
                  </a:cubicBezTo>
                  <a:cubicBezTo>
                    <a:pt x="465873" y="484329"/>
                    <a:pt x="474953" y="475259"/>
                    <a:pt x="486081" y="475259"/>
                  </a:cubicBezTo>
                  <a:close/>
                  <a:moveTo>
                    <a:pt x="415190" y="424698"/>
                  </a:moveTo>
                  <a:cubicBezTo>
                    <a:pt x="398455" y="424698"/>
                    <a:pt x="384836" y="438297"/>
                    <a:pt x="384836" y="455006"/>
                  </a:cubicBezTo>
                  <a:lnTo>
                    <a:pt x="384836" y="556150"/>
                  </a:lnTo>
                  <a:cubicBezTo>
                    <a:pt x="384836" y="572859"/>
                    <a:pt x="398455" y="586458"/>
                    <a:pt x="415190" y="586458"/>
                  </a:cubicBezTo>
                  <a:lnTo>
                    <a:pt x="556990" y="586458"/>
                  </a:lnTo>
                  <a:cubicBezTo>
                    <a:pt x="573725" y="586458"/>
                    <a:pt x="587344" y="572859"/>
                    <a:pt x="587344" y="556150"/>
                  </a:cubicBezTo>
                  <a:lnTo>
                    <a:pt x="587344" y="455006"/>
                  </a:lnTo>
                  <a:cubicBezTo>
                    <a:pt x="587344" y="438297"/>
                    <a:pt x="573725" y="424698"/>
                    <a:pt x="556990" y="424698"/>
                  </a:cubicBezTo>
                  <a:close/>
                  <a:moveTo>
                    <a:pt x="111409" y="404481"/>
                  </a:moveTo>
                  <a:lnTo>
                    <a:pt x="293724" y="404481"/>
                  </a:lnTo>
                  <a:cubicBezTo>
                    <a:pt x="299244" y="404481"/>
                    <a:pt x="303784" y="409011"/>
                    <a:pt x="303784" y="414607"/>
                  </a:cubicBezTo>
                  <a:cubicBezTo>
                    <a:pt x="303784" y="420203"/>
                    <a:pt x="299244" y="424733"/>
                    <a:pt x="293724" y="424733"/>
                  </a:cubicBezTo>
                  <a:lnTo>
                    <a:pt x="111409" y="424733"/>
                  </a:lnTo>
                  <a:cubicBezTo>
                    <a:pt x="105801" y="424733"/>
                    <a:pt x="101261" y="420203"/>
                    <a:pt x="101261" y="414607"/>
                  </a:cubicBezTo>
                  <a:cubicBezTo>
                    <a:pt x="101261" y="409011"/>
                    <a:pt x="105801" y="404481"/>
                    <a:pt x="111409" y="404481"/>
                  </a:cubicBezTo>
                  <a:close/>
                  <a:moveTo>
                    <a:pt x="10146" y="323613"/>
                  </a:moveTo>
                  <a:lnTo>
                    <a:pt x="394900" y="323613"/>
                  </a:lnTo>
                  <a:cubicBezTo>
                    <a:pt x="400507" y="323613"/>
                    <a:pt x="405046" y="328145"/>
                    <a:pt x="405046" y="333743"/>
                  </a:cubicBezTo>
                  <a:cubicBezTo>
                    <a:pt x="405046" y="339252"/>
                    <a:pt x="400507" y="343784"/>
                    <a:pt x="394900" y="343784"/>
                  </a:cubicBezTo>
                  <a:lnTo>
                    <a:pt x="20292" y="343784"/>
                  </a:lnTo>
                  <a:lnTo>
                    <a:pt x="20292" y="455039"/>
                  </a:lnTo>
                  <a:cubicBezTo>
                    <a:pt x="20292" y="469790"/>
                    <a:pt x="35867" y="485341"/>
                    <a:pt x="50642" y="485341"/>
                  </a:cubicBezTo>
                  <a:lnTo>
                    <a:pt x="334201" y="485341"/>
                  </a:lnTo>
                  <a:cubicBezTo>
                    <a:pt x="339719" y="485341"/>
                    <a:pt x="344258" y="489873"/>
                    <a:pt x="344258" y="495471"/>
                  </a:cubicBezTo>
                  <a:cubicBezTo>
                    <a:pt x="344258" y="501069"/>
                    <a:pt x="339719" y="505601"/>
                    <a:pt x="334201" y="505601"/>
                  </a:cubicBezTo>
                  <a:lnTo>
                    <a:pt x="50642" y="505601"/>
                  </a:lnTo>
                  <a:cubicBezTo>
                    <a:pt x="24564" y="505601"/>
                    <a:pt x="0" y="480987"/>
                    <a:pt x="0" y="455039"/>
                  </a:cubicBezTo>
                  <a:lnTo>
                    <a:pt x="0" y="333743"/>
                  </a:lnTo>
                  <a:cubicBezTo>
                    <a:pt x="0" y="328145"/>
                    <a:pt x="4539" y="323613"/>
                    <a:pt x="10146" y="323613"/>
                  </a:cubicBezTo>
                  <a:close/>
                  <a:moveTo>
                    <a:pt x="486046" y="323554"/>
                  </a:moveTo>
                  <a:cubicBezTo>
                    <a:pt x="463703" y="323554"/>
                    <a:pt x="445544" y="341685"/>
                    <a:pt x="445544" y="363994"/>
                  </a:cubicBezTo>
                  <a:lnTo>
                    <a:pt x="445544" y="404434"/>
                  </a:lnTo>
                  <a:lnTo>
                    <a:pt x="526547" y="404434"/>
                  </a:lnTo>
                  <a:lnTo>
                    <a:pt x="526547" y="363994"/>
                  </a:lnTo>
                  <a:cubicBezTo>
                    <a:pt x="526547" y="341685"/>
                    <a:pt x="508388" y="323554"/>
                    <a:pt x="486046" y="323554"/>
                  </a:cubicBezTo>
                  <a:close/>
                  <a:moveTo>
                    <a:pt x="486046" y="303290"/>
                  </a:moveTo>
                  <a:cubicBezTo>
                    <a:pt x="519604" y="303290"/>
                    <a:pt x="546842" y="330576"/>
                    <a:pt x="546842" y="363994"/>
                  </a:cubicBezTo>
                  <a:lnTo>
                    <a:pt x="546842" y="404434"/>
                  </a:lnTo>
                  <a:lnTo>
                    <a:pt x="556990" y="404434"/>
                  </a:lnTo>
                  <a:cubicBezTo>
                    <a:pt x="584852" y="404434"/>
                    <a:pt x="607639" y="427098"/>
                    <a:pt x="607639" y="455006"/>
                  </a:cubicBezTo>
                  <a:lnTo>
                    <a:pt x="607639" y="556150"/>
                  </a:lnTo>
                  <a:cubicBezTo>
                    <a:pt x="607639" y="583969"/>
                    <a:pt x="584852" y="606722"/>
                    <a:pt x="556990" y="606722"/>
                  </a:cubicBezTo>
                  <a:lnTo>
                    <a:pt x="415190" y="606722"/>
                  </a:lnTo>
                  <a:cubicBezTo>
                    <a:pt x="387239" y="606722"/>
                    <a:pt x="364541" y="583969"/>
                    <a:pt x="364541" y="556150"/>
                  </a:cubicBezTo>
                  <a:lnTo>
                    <a:pt x="364541" y="455006"/>
                  </a:lnTo>
                  <a:cubicBezTo>
                    <a:pt x="364541" y="427098"/>
                    <a:pt x="387239" y="404434"/>
                    <a:pt x="415190" y="404434"/>
                  </a:cubicBezTo>
                  <a:lnTo>
                    <a:pt x="425338" y="404434"/>
                  </a:lnTo>
                  <a:lnTo>
                    <a:pt x="425338" y="363994"/>
                  </a:lnTo>
                  <a:cubicBezTo>
                    <a:pt x="425338" y="330576"/>
                    <a:pt x="452576" y="303290"/>
                    <a:pt x="486046" y="303290"/>
                  </a:cubicBezTo>
                  <a:close/>
                  <a:moveTo>
                    <a:pt x="111409" y="242745"/>
                  </a:moveTo>
                  <a:lnTo>
                    <a:pt x="293724" y="242745"/>
                  </a:lnTo>
                  <a:cubicBezTo>
                    <a:pt x="299244" y="242745"/>
                    <a:pt x="303784" y="247263"/>
                    <a:pt x="303784" y="252756"/>
                  </a:cubicBezTo>
                  <a:cubicBezTo>
                    <a:pt x="303784" y="258337"/>
                    <a:pt x="299244" y="262856"/>
                    <a:pt x="293724" y="262856"/>
                  </a:cubicBezTo>
                  <a:lnTo>
                    <a:pt x="111409" y="262856"/>
                  </a:lnTo>
                  <a:cubicBezTo>
                    <a:pt x="105801" y="262856"/>
                    <a:pt x="101261" y="258337"/>
                    <a:pt x="101261" y="252756"/>
                  </a:cubicBezTo>
                  <a:cubicBezTo>
                    <a:pt x="101261" y="247263"/>
                    <a:pt x="105801" y="242745"/>
                    <a:pt x="111409" y="242745"/>
                  </a:cubicBezTo>
                  <a:close/>
                  <a:moveTo>
                    <a:pt x="476008" y="242704"/>
                  </a:moveTo>
                  <a:cubicBezTo>
                    <a:pt x="470398" y="242704"/>
                    <a:pt x="465855" y="247240"/>
                    <a:pt x="465855" y="252756"/>
                  </a:cubicBezTo>
                  <a:cubicBezTo>
                    <a:pt x="465855" y="258360"/>
                    <a:pt x="470398" y="262897"/>
                    <a:pt x="476008" y="262897"/>
                  </a:cubicBezTo>
                  <a:cubicBezTo>
                    <a:pt x="481530" y="262897"/>
                    <a:pt x="486072" y="258360"/>
                    <a:pt x="486072" y="252756"/>
                  </a:cubicBezTo>
                  <a:cubicBezTo>
                    <a:pt x="486072" y="247240"/>
                    <a:pt x="481530" y="242704"/>
                    <a:pt x="476008" y="242704"/>
                  </a:cubicBezTo>
                  <a:close/>
                  <a:moveTo>
                    <a:pt x="394910" y="242704"/>
                  </a:moveTo>
                  <a:cubicBezTo>
                    <a:pt x="389388" y="242704"/>
                    <a:pt x="384846" y="247240"/>
                    <a:pt x="384846" y="252756"/>
                  </a:cubicBezTo>
                  <a:cubicBezTo>
                    <a:pt x="384846" y="258360"/>
                    <a:pt x="389388" y="262897"/>
                    <a:pt x="394910" y="262897"/>
                  </a:cubicBezTo>
                  <a:cubicBezTo>
                    <a:pt x="400520" y="262897"/>
                    <a:pt x="405062" y="258360"/>
                    <a:pt x="405062" y="252756"/>
                  </a:cubicBezTo>
                  <a:cubicBezTo>
                    <a:pt x="405062" y="247240"/>
                    <a:pt x="400520" y="242704"/>
                    <a:pt x="394910" y="242704"/>
                  </a:cubicBezTo>
                  <a:close/>
                  <a:moveTo>
                    <a:pt x="476008" y="222422"/>
                  </a:moveTo>
                  <a:cubicBezTo>
                    <a:pt x="492751" y="222422"/>
                    <a:pt x="506377" y="236032"/>
                    <a:pt x="506377" y="252756"/>
                  </a:cubicBezTo>
                  <a:cubicBezTo>
                    <a:pt x="506377" y="269568"/>
                    <a:pt x="492751" y="283179"/>
                    <a:pt x="476008" y="283179"/>
                  </a:cubicBezTo>
                  <a:cubicBezTo>
                    <a:pt x="459176" y="283179"/>
                    <a:pt x="445550" y="269568"/>
                    <a:pt x="445550" y="252756"/>
                  </a:cubicBezTo>
                  <a:cubicBezTo>
                    <a:pt x="445550" y="236032"/>
                    <a:pt x="459176" y="222422"/>
                    <a:pt x="476008" y="222422"/>
                  </a:cubicBezTo>
                  <a:close/>
                  <a:moveTo>
                    <a:pt x="394910" y="222422"/>
                  </a:moveTo>
                  <a:cubicBezTo>
                    <a:pt x="411742" y="222422"/>
                    <a:pt x="425368" y="236032"/>
                    <a:pt x="425368" y="252756"/>
                  </a:cubicBezTo>
                  <a:cubicBezTo>
                    <a:pt x="425368" y="269568"/>
                    <a:pt x="411742" y="283179"/>
                    <a:pt x="394910" y="283179"/>
                  </a:cubicBezTo>
                  <a:cubicBezTo>
                    <a:pt x="378167" y="283179"/>
                    <a:pt x="364541" y="269568"/>
                    <a:pt x="364541" y="252756"/>
                  </a:cubicBezTo>
                  <a:cubicBezTo>
                    <a:pt x="364541" y="236032"/>
                    <a:pt x="378167" y="222422"/>
                    <a:pt x="394910" y="222422"/>
                  </a:cubicBezTo>
                  <a:close/>
                  <a:moveTo>
                    <a:pt x="10146" y="161736"/>
                  </a:moveTo>
                  <a:lnTo>
                    <a:pt x="556988" y="161736"/>
                  </a:lnTo>
                  <a:cubicBezTo>
                    <a:pt x="562595" y="161736"/>
                    <a:pt x="567134" y="166268"/>
                    <a:pt x="567134" y="171866"/>
                  </a:cubicBezTo>
                  <a:cubicBezTo>
                    <a:pt x="567134" y="177464"/>
                    <a:pt x="562595" y="181996"/>
                    <a:pt x="556988" y="181996"/>
                  </a:cubicBezTo>
                  <a:lnTo>
                    <a:pt x="20293" y="181996"/>
                  </a:lnTo>
                  <a:lnTo>
                    <a:pt x="20293" y="293249"/>
                  </a:lnTo>
                  <a:cubicBezTo>
                    <a:pt x="20293" y="298758"/>
                    <a:pt x="15753" y="303290"/>
                    <a:pt x="10146" y="303290"/>
                  </a:cubicBezTo>
                  <a:cubicBezTo>
                    <a:pt x="4539" y="303290"/>
                    <a:pt x="0" y="298758"/>
                    <a:pt x="0" y="293249"/>
                  </a:cubicBezTo>
                  <a:lnTo>
                    <a:pt x="0" y="171866"/>
                  </a:lnTo>
                  <a:cubicBezTo>
                    <a:pt x="0" y="166268"/>
                    <a:pt x="4539" y="161736"/>
                    <a:pt x="10146" y="161736"/>
                  </a:cubicBezTo>
                  <a:close/>
                  <a:moveTo>
                    <a:pt x="111409" y="80868"/>
                  </a:moveTo>
                  <a:lnTo>
                    <a:pt x="293724" y="80868"/>
                  </a:lnTo>
                  <a:cubicBezTo>
                    <a:pt x="299244" y="80868"/>
                    <a:pt x="303784" y="85398"/>
                    <a:pt x="303784" y="90994"/>
                  </a:cubicBezTo>
                  <a:cubicBezTo>
                    <a:pt x="303784" y="96590"/>
                    <a:pt x="299244" y="101120"/>
                    <a:pt x="293724" y="101120"/>
                  </a:cubicBezTo>
                  <a:lnTo>
                    <a:pt x="111409" y="101120"/>
                  </a:lnTo>
                  <a:cubicBezTo>
                    <a:pt x="105801" y="101120"/>
                    <a:pt x="101261" y="96590"/>
                    <a:pt x="101261" y="90994"/>
                  </a:cubicBezTo>
                  <a:cubicBezTo>
                    <a:pt x="101261" y="85398"/>
                    <a:pt x="105801" y="80868"/>
                    <a:pt x="111409" y="80868"/>
                  </a:cubicBezTo>
                  <a:close/>
                  <a:moveTo>
                    <a:pt x="476008" y="80861"/>
                  </a:moveTo>
                  <a:cubicBezTo>
                    <a:pt x="470398" y="80861"/>
                    <a:pt x="465855" y="85394"/>
                    <a:pt x="465855" y="90994"/>
                  </a:cubicBezTo>
                  <a:cubicBezTo>
                    <a:pt x="465855" y="96593"/>
                    <a:pt x="470398" y="101126"/>
                    <a:pt x="476008" y="101126"/>
                  </a:cubicBezTo>
                  <a:cubicBezTo>
                    <a:pt x="481530" y="101126"/>
                    <a:pt x="486072" y="96593"/>
                    <a:pt x="486072" y="90994"/>
                  </a:cubicBezTo>
                  <a:cubicBezTo>
                    <a:pt x="486072" y="85394"/>
                    <a:pt x="481530" y="80861"/>
                    <a:pt x="476008" y="80861"/>
                  </a:cubicBezTo>
                  <a:close/>
                  <a:moveTo>
                    <a:pt x="394910" y="80861"/>
                  </a:moveTo>
                  <a:cubicBezTo>
                    <a:pt x="389388" y="80861"/>
                    <a:pt x="384846" y="85394"/>
                    <a:pt x="384846" y="90994"/>
                  </a:cubicBezTo>
                  <a:cubicBezTo>
                    <a:pt x="384846" y="96593"/>
                    <a:pt x="389388" y="101126"/>
                    <a:pt x="394910" y="101126"/>
                  </a:cubicBezTo>
                  <a:cubicBezTo>
                    <a:pt x="400520" y="101126"/>
                    <a:pt x="405062" y="96593"/>
                    <a:pt x="405062" y="90994"/>
                  </a:cubicBezTo>
                  <a:cubicBezTo>
                    <a:pt x="405062" y="85394"/>
                    <a:pt x="400520" y="80861"/>
                    <a:pt x="394910" y="80861"/>
                  </a:cubicBezTo>
                  <a:close/>
                  <a:moveTo>
                    <a:pt x="476008" y="60686"/>
                  </a:moveTo>
                  <a:cubicBezTo>
                    <a:pt x="492751" y="60686"/>
                    <a:pt x="506377" y="74284"/>
                    <a:pt x="506377" y="90994"/>
                  </a:cubicBezTo>
                  <a:cubicBezTo>
                    <a:pt x="506377" y="107703"/>
                    <a:pt x="492751" y="121302"/>
                    <a:pt x="476008" y="121302"/>
                  </a:cubicBezTo>
                  <a:cubicBezTo>
                    <a:pt x="459176" y="121302"/>
                    <a:pt x="445550" y="107703"/>
                    <a:pt x="445550" y="90994"/>
                  </a:cubicBezTo>
                  <a:cubicBezTo>
                    <a:pt x="445550" y="74284"/>
                    <a:pt x="459176" y="60686"/>
                    <a:pt x="476008" y="60686"/>
                  </a:cubicBezTo>
                  <a:close/>
                  <a:moveTo>
                    <a:pt x="394910" y="60686"/>
                  </a:moveTo>
                  <a:cubicBezTo>
                    <a:pt x="411742" y="60686"/>
                    <a:pt x="425368" y="74284"/>
                    <a:pt x="425368" y="90994"/>
                  </a:cubicBezTo>
                  <a:cubicBezTo>
                    <a:pt x="425368" y="107703"/>
                    <a:pt x="411742" y="121302"/>
                    <a:pt x="394910" y="121302"/>
                  </a:cubicBezTo>
                  <a:cubicBezTo>
                    <a:pt x="378167" y="121302"/>
                    <a:pt x="364541" y="107703"/>
                    <a:pt x="364541" y="90994"/>
                  </a:cubicBezTo>
                  <a:cubicBezTo>
                    <a:pt x="364541" y="74284"/>
                    <a:pt x="378167" y="60686"/>
                    <a:pt x="394910" y="60686"/>
                  </a:cubicBezTo>
                  <a:close/>
                  <a:moveTo>
                    <a:pt x="50644" y="0"/>
                  </a:moveTo>
                  <a:lnTo>
                    <a:pt x="556995" y="0"/>
                  </a:lnTo>
                  <a:cubicBezTo>
                    <a:pt x="582985" y="0"/>
                    <a:pt x="607639" y="24528"/>
                    <a:pt x="607639" y="50567"/>
                  </a:cubicBezTo>
                  <a:lnTo>
                    <a:pt x="607639" y="384277"/>
                  </a:lnTo>
                  <a:cubicBezTo>
                    <a:pt x="607639" y="389787"/>
                    <a:pt x="603100" y="394320"/>
                    <a:pt x="597493" y="394320"/>
                  </a:cubicBezTo>
                  <a:cubicBezTo>
                    <a:pt x="591885" y="394320"/>
                    <a:pt x="587346" y="389787"/>
                    <a:pt x="587346" y="384277"/>
                  </a:cubicBezTo>
                  <a:lnTo>
                    <a:pt x="587346" y="50567"/>
                  </a:lnTo>
                  <a:cubicBezTo>
                    <a:pt x="587346" y="35815"/>
                    <a:pt x="571770" y="20262"/>
                    <a:pt x="556995" y="20262"/>
                  </a:cubicBezTo>
                  <a:lnTo>
                    <a:pt x="50644" y="20262"/>
                  </a:lnTo>
                  <a:cubicBezTo>
                    <a:pt x="35869" y="20262"/>
                    <a:pt x="20293" y="35815"/>
                    <a:pt x="20293" y="50567"/>
                  </a:cubicBezTo>
                  <a:lnTo>
                    <a:pt x="20293" y="131440"/>
                  </a:lnTo>
                  <a:cubicBezTo>
                    <a:pt x="20293" y="137039"/>
                    <a:pt x="15754" y="141571"/>
                    <a:pt x="10146" y="141571"/>
                  </a:cubicBezTo>
                  <a:cubicBezTo>
                    <a:pt x="4539" y="141571"/>
                    <a:pt x="0" y="137039"/>
                    <a:pt x="0" y="131440"/>
                  </a:cubicBezTo>
                  <a:lnTo>
                    <a:pt x="0" y="50567"/>
                  </a:lnTo>
                  <a:cubicBezTo>
                    <a:pt x="0" y="24528"/>
                    <a:pt x="24565" y="0"/>
                    <a:pt x="50644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30" name="server_182394"/>
            <p:cNvSpPr>
              <a:spLocks noChangeAspect="1"/>
            </p:cNvSpPr>
            <p:nvPr/>
          </p:nvSpPr>
          <p:spPr bwMode="auto">
            <a:xfrm>
              <a:off x="5054825" y="1490030"/>
              <a:ext cx="383821" cy="406718"/>
            </a:xfrm>
            <a:custGeom>
              <a:avLst/>
              <a:gdLst>
                <a:gd name="connsiteX0" fmla="*/ 325000 h 606722"/>
                <a:gd name="connsiteY0" fmla="*/ 325000 h 606722"/>
                <a:gd name="connsiteX1" fmla="*/ 325000 h 606722"/>
                <a:gd name="connsiteY1" fmla="*/ 325000 h 606722"/>
                <a:gd name="connsiteX2" fmla="*/ 325000 h 606722"/>
                <a:gd name="connsiteY2" fmla="*/ 325000 h 606722"/>
                <a:gd name="connsiteX3" fmla="*/ 325000 h 606722"/>
                <a:gd name="connsiteY3" fmla="*/ 325000 h 606722"/>
                <a:gd name="connsiteX4" fmla="*/ 325000 h 606722"/>
                <a:gd name="connsiteY4" fmla="*/ 325000 h 606722"/>
                <a:gd name="connsiteX5" fmla="*/ 325000 h 606722"/>
                <a:gd name="connsiteY5" fmla="*/ 325000 h 606722"/>
                <a:gd name="connsiteX6" fmla="*/ 325000 h 606722"/>
                <a:gd name="connsiteY6" fmla="*/ 325000 h 606722"/>
                <a:gd name="connsiteX7" fmla="*/ 325000 h 606722"/>
                <a:gd name="connsiteY7" fmla="*/ 325000 h 606722"/>
                <a:gd name="connsiteX8" fmla="*/ 325000 h 606722"/>
                <a:gd name="connsiteY8" fmla="*/ 325000 h 606722"/>
                <a:gd name="connsiteX9" fmla="*/ 325000 h 606722"/>
                <a:gd name="connsiteY9" fmla="*/ 325000 h 606722"/>
                <a:gd name="connsiteX10" fmla="*/ 325000 h 606722"/>
                <a:gd name="connsiteY10" fmla="*/ 325000 h 606722"/>
                <a:gd name="connsiteX11" fmla="*/ 325000 h 606722"/>
                <a:gd name="connsiteY11" fmla="*/ 325000 h 606722"/>
                <a:gd name="connsiteX12" fmla="*/ 325000 h 606722"/>
                <a:gd name="connsiteY12" fmla="*/ 325000 h 606722"/>
                <a:gd name="connsiteX13" fmla="*/ 325000 h 606722"/>
                <a:gd name="connsiteY13" fmla="*/ 325000 h 606722"/>
                <a:gd name="connsiteX14" fmla="*/ 325000 h 606722"/>
                <a:gd name="connsiteY14" fmla="*/ 325000 h 606722"/>
                <a:gd name="connsiteX15" fmla="*/ 325000 h 606722"/>
                <a:gd name="connsiteY15" fmla="*/ 325000 h 606722"/>
                <a:gd name="connsiteX16" fmla="*/ 325000 h 606722"/>
                <a:gd name="connsiteY16" fmla="*/ 325000 h 606722"/>
                <a:gd name="connsiteX17" fmla="*/ 325000 h 606722"/>
                <a:gd name="connsiteY17" fmla="*/ 325000 h 606722"/>
                <a:gd name="connsiteX18" fmla="*/ 325000 h 606722"/>
                <a:gd name="connsiteY18" fmla="*/ 325000 h 606722"/>
                <a:gd name="connsiteX19" fmla="*/ 325000 h 606722"/>
                <a:gd name="connsiteY19" fmla="*/ 325000 h 606722"/>
                <a:gd name="connsiteX20" fmla="*/ 325000 h 606722"/>
                <a:gd name="connsiteY20" fmla="*/ 325000 h 606722"/>
                <a:gd name="connsiteX21" fmla="*/ 325000 h 606722"/>
                <a:gd name="connsiteY21" fmla="*/ 325000 h 606722"/>
                <a:gd name="connsiteX22" fmla="*/ 325000 h 606722"/>
                <a:gd name="connsiteY22" fmla="*/ 325000 h 606722"/>
                <a:gd name="connsiteX23" fmla="*/ 325000 h 606722"/>
                <a:gd name="connsiteY23" fmla="*/ 325000 h 606722"/>
                <a:gd name="connsiteX24" fmla="*/ 325000 h 606722"/>
                <a:gd name="connsiteY24" fmla="*/ 325000 h 606722"/>
                <a:gd name="connsiteX25" fmla="*/ 325000 h 606722"/>
                <a:gd name="connsiteY25" fmla="*/ 325000 h 606722"/>
                <a:gd name="connsiteX26" fmla="*/ 325000 h 606722"/>
                <a:gd name="connsiteY26" fmla="*/ 325000 h 606722"/>
                <a:gd name="connsiteX27" fmla="*/ 325000 h 606722"/>
                <a:gd name="connsiteY27" fmla="*/ 325000 h 606722"/>
                <a:gd name="connsiteX28" fmla="*/ 325000 h 606722"/>
                <a:gd name="connsiteY28" fmla="*/ 325000 h 606722"/>
                <a:gd name="connsiteX29" fmla="*/ 325000 h 606722"/>
                <a:gd name="connsiteY29" fmla="*/ 325000 h 606722"/>
                <a:gd name="connsiteX30" fmla="*/ 325000 h 606722"/>
                <a:gd name="connsiteY30" fmla="*/ 325000 h 606722"/>
                <a:gd name="connsiteX31" fmla="*/ 325000 h 606722"/>
                <a:gd name="connsiteY31" fmla="*/ 325000 h 606722"/>
                <a:gd name="connsiteX32" fmla="*/ 325000 h 606722"/>
                <a:gd name="connsiteY32" fmla="*/ 325000 h 606722"/>
                <a:gd name="connsiteX33" fmla="*/ 325000 h 606722"/>
                <a:gd name="connsiteY33" fmla="*/ 325000 h 606722"/>
                <a:gd name="connsiteX34" fmla="*/ 325000 h 606722"/>
                <a:gd name="connsiteY34" fmla="*/ 325000 h 606722"/>
                <a:gd name="connsiteX35" fmla="*/ 325000 h 606722"/>
                <a:gd name="connsiteY35" fmla="*/ 325000 h 606722"/>
                <a:gd name="connsiteX36" fmla="*/ 325000 h 606722"/>
                <a:gd name="connsiteY36" fmla="*/ 325000 h 606722"/>
                <a:gd name="connsiteX37" fmla="*/ 325000 h 606722"/>
                <a:gd name="connsiteY37" fmla="*/ 325000 h 606722"/>
                <a:gd name="connsiteX38" fmla="*/ 325000 h 606722"/>
                <a:gd name="connsiteY38" fmla="*/ 325000 h 606722"/>
                <a:gd name="connsiteX39" fmla="*/ 325000 h 606722"/>
                <a:gd name="connsiteY39" fmla="*/ 325000 h 606722"/>
                <a:gd name="connsiteX40" fmla="*/ 325000 h 606722"/>
                <a:gd name="connsiteY40" fmla="*/ 325000 h 606722"/>
                <a:gd name="connsiteX41" fmla="*/ 325000 h 606722"/>
                <a:gd name="connsiteY41" fmla="*/ 325000 h 606722"/>
                <a:gd name="connsiteX42" fmla="*/ 325000 h 606722"/>
                <a:gd name="connsiteY42" fmla="*/ 325000 h 606722"/>
                <a:gd name="connsiteX43" fmla="*/ 325000 h 606722"/>
                <a:gd name="connsiteY43" fmla="*/ 325000 h 606722"/>
                <a:gd name="connsiteX44" fmla="*/ 325000 h 606722"/>
                <a:gd name="connsiteY44" fmla="*/ 325000 h 606722"/>
                <a:gd name="connsiteX45" fmla="*/ 325000 h 606722"/>
                <a:gd name="connsiteY45" fmla="*/ 325000 h 606722"/>
                <a:gd name="connsiteX46" fmla="*/ 325000 h 606722"/>
                <a:gd name="connsiteY46" fmla="*/ 325000 h 606722"/>
                <a:gd name="connsiteX47" fmla="*/ 325000 h 606722"/>
                <a:gd name="connsiteY47" fmla="*/ 325000 h 606722"/>
                <a:gd name="connsiteX48" fmla="*/ 325000 h 606722"/>
                <a:gd name="connsiteY48" fmla="*/ 325000 h 606722"/>
                <a:gd name="connsiteX49" fmla="*/ 325000 h 606722"/>
                <a:gd name="connsiteY49" fmla="*/ 325000 h 606722"/>
                <a:gd name="connsiteX50" fmla="*/ 325000 h 606722"/>
                <a:gd name="connsiteY50" fmla="*/ 325000 h 606722"/>
                <a:gd name="connsiteX51" fmla="*/ 325000 h 606722"/>
                <a:gd name="connsiteY51" fmla="*/ 325000 h 606722"/>
                <a:gd name="connsiteX52" fmla="*/ 325000 h 606722"/>
                <a:gd name="connsiteY52" fmla="*/ 325000 h 606722"/>
                <a:gd name="connsiteX53" fmla="*/ 325000 h 606722"/>
                <a:gd name="connsiteY53" fmla="*/ 325000 h 606722"/>
                <a:gd name="connsiteX54" fmla="*/ 325000 h 606722"/>
                <a:gd name="connsiteY54" fmla="*/ 325000 h 606722"/>
                <a:gd name="connsiteX55" fmla="*/ 325000 h 606722"/>
                <a:gd name="connsiteY55" fmla="*/ 325000 h 606722"/>
                <a:gd name="connsiteX56" fmla="*/ 325000 h 606722"/>
                <a:gd name="connsiteY56" fmla="*/ 325000 h 606722"/>
                <a:gd name="connsiteX57" fmla="*/ 325000 h 606722"/>
                <a:gd name="connsiteY57" fmla="*/ 325000 h 606722"/>
                <a:gd name="connsiteX58" fmla="*/ 325000 h 606722"/>
                <a:gd name="connsiteY58" fmla="*/ 325000 h 606722"/>
                <a:gd name="connsiteX59" fmla="*/ 325000 h 606722"/>
                <a:gd name="connsiteY59" fmla="*/ 325000 h 606722"/>
                <a:gd name="connsiteX60" fmla="*/ 325000 h 606722"/>
                <a:gd name="connsiteY60" fmla="*/ 325000 h 606722"/>
                <a:gd name="connsiteX61" fmla="*/ 325000 h 606722"/>
                <a:gd name="connsiteY61" fmla="*/ 325000 h 606722"/>
                <a:gd name="connsiteX62" fmla="*/ 325000 h 606722"/>
                <a:gd name="connsiteY62" fmla="*/ 325000 h 606722"/>
                <a:gd name="connsiteX63" fmla="*/ 325000 h 606722"/>
                <a:gd name="connsiteY63" fmla="*/ 325000 h 606722"/>
                <a:gd name="connsiteX64" fmla="*/ 325000 h 606722"/>
                <a:gd name="connsiteY64" fmla="*/ 325000 h 606722"/>
                <a:gd name="connsiteX65" fmla="*/ 325000 h 606722"/>
                <a:gd name="connsiteY65" fmla="*/ 325000 h 606722"/>
                <a:gd name="connsiteX66" fmla="*/ 325000 h 606722"/>
                <a:gd name="connsiteY66" fmla="*/ 325000 h 606722"/>
                <a:gd name="connsiteX67" fmla="*/ 325000 h 606722"/>
                <a:gd name="connsiteY67" fmla="*/ 325000 h 606722"/>
                <a:gd name="connsiteX68" fmla="*/ 325000 h 606722"/>
                <a:gd name="connsiteY68" fmla="*/ 325000 h 606722"/>
                <a:gd name="connsiteX69" fmla="*/ 325000 h 606722"/>
                <a:gd name="connsiteY69" fmla="*/ 325000 h 606722"/>
                <a:gd name="connsiteX70" fmla="*/ 325000 h 606722"/>
                <a:gd name="connsiteY70" fmla="*/ 325000 h 606722"/>
                <a:gd name="connsiteX71" fmla="*/ 325000 h 606722"/>
                <a:gd name="connsiteY71" fmla="*/ 325000 h 606722"/>
                <a:gd name="connsiteX72" fmla="*/ 325000 h 606722"/>
                <a:gd name="connsiteY72" fmla="*/ 325000 h 606722"/>
                <a:gd name="connsiteX73" fmla="*/ 325000 h 606722"/>
                <a:gd name="connsiteY73" fmla="*/ 325000 h 606722"/>
                <a:gd name="connsiteX74" fmla="*/ 325000 h 606722"/>
                <a:gd name="connsiteY74" fmla="*/ 325000 h 606722"/>
                <a:gd name="connsiteX75" fmla="*/ 325000 h 606722"/>
                <a:gd name="connsiteY75" fmla="*/ 325000 h 606722"/>
                <a:gd name="connsiteX76" fmla="*/ 325000 h 606722"/>
                <a:gd name="connsiteY76" fmla="*/ 325000 h 606722"/>
                <a:gd name="connsiteX77" fmla="*/ 325000 h 606722"/>
                <a:gd name="connsiteY77" fmla="*/ 325000 h 606722"/>
                <a:gd name="connsiteX78" fmla="*/ 325000 h 606722"/>
                <a:gd name="connsiteY78" fmla="*/ 325000 h 606722"/>
                <a:gd name="connsiteX79" fmla="*/ 325000 h 606722"/>
                <a:gd name="connsiteY79" fmla="*/ 325000 h 606722"/>
                <a:gd name="connsiteX80" fmla="*/ 325000 h 606722"/>
                <a:gd name="connsiteY80" fmla="*/ 325000 h 606722"/>
                <a:gd name="connsiteX81" fmla="*/ 325000 h 606722"/>
                <a:gd name="connsiteY81" fmla="*/ 325000 h 606722"/>
                <a:gd name="connsiteX82" fmla="*/ 325000 h 606722"/>
                <a:gd name="connsiteY82" fmla="*/ 325000 h 606722"/>
                <a:gd name="connsiteX83" fmla="*/ 325000 h 606722"/>
                <a:gd name="connsiteY83" fmla="*/ 325000 h 606722"/>
                <a:gd name="connsiteX84" fmla="*/ 325000 h 606722"/>
                <a:gd name="connsiteY84" fmla="*/ 325000 h 606722"/>
                <a:gd name="connsiteX85" fmla="*/ 325000 h 606722"/>
                <a:gd name="connsiteY85" fmla="*/ 325000 h 606722"/>
                <a:gd name="connsiteX86" fmla="*/ 325000 h 606722"/>
                <a:gd name="connsiteY86" fmla="*/ 325000 h 606722"/>
                <a:gd name="connsiteX87" fmla="*/ 325000 h 606722"/>
                <a:gd name="connsiteY87" fmla="*/ 325000 h 606722"/>
                <a:gd name="connsiteX88" fmla="*/ 325000 h 606722"/>
                <a:gd name="connsiteY88" fmla="*/ 325000 h 606722"/>
                <a:gd name="connsiteX89" fmla="*/ 325000 h 606722"/>
                <a:gd name="connsiteY89" fmla="*/ 325000 h 606722"/>
                <a:gd name="connsiteX90" fmla="*/ 325000 h 606722"/>
                <a:gd name="connsiteY90" fmla="*/ 325000 h 606722"/>
                <a:gd name="connsiteX91" fmla="*/ 325000 h 606722"/>
                <a:gd name="connsiteY91" fmla="*/ 325000 h 606722"/>
                <a:gd name="connsiteX92" fmla="*/ 325000 h 606722"/>
                <a:gd name="connsiteY92" fmla="*/ 325000 h 606722"/>
                <a:gd name="connsiteX93" fmla="*/ 325000 h 606722"/>
                <a:gd name="connsiteY93" fmla="*/ 325000 h 606722"/>
                <a:gd name="connsiteX94" fmla="*/ 325000 h 606722"/>
                <a:gd name="connsiteY94" fmla="*/ 325000 h 606722"/>
                <a:gd name="connsiteX95" fmla="*/ 325000 h 606722"/>
                <a:gd name="connsiteY95" fmla="*/ 325000 h 606722"/>
                <a:gd name="connsiteX96" fmla="*/ 325000 h 606722"/>
                <a:gd name="connsiteY96" fmla="*/ 325000 h 606722"/>
                <a:gd name="connsiteX97" fmla="*/ 325000 h 606722"/>
                <a:gd name="connsiteY97" fmla="*/ 325000 h 606722"/>
                <a:gd name="connsiteX98" fmla="*/ 325000 h 606722"/>
                <a:gd name="connsiteY98" fmla="*/ 325000 h 606722"/>
                <a:gd name="connsiteX99" fmla="*/ 325000 h 606722"/>
                <a:gd name="connsiteY99" fmla="*/ 325000 h 606722"/>
                <a:gd name="connsiteX100" fmla="*/ 325000 h 606722"/>
                <a:gd name="connsiteY100" fmla="*/ 325000 h 606722"/>
                <a:gd name="connsiteX101" fmla="*/ 325000 h 606722"/>
                <a:gd name="connsiteY101" fmla="*/ 325000 h 606722"/>
                <a:gd name="connsiteX102" fmla="*/ 325000 h 606722"/>
                <a:gd name="connsiteY102" fmla="*/ 325000 h 606722"/>
                <a:gd name="connsiteX103" fmla="*/ 325000 h 606722"/>
                <a:gd name="connsiteY103" fmla="*/ 325000 h 606722"/>
                <a:gd name="connsiteX104" fmla="*/ 325000 h 606722"/>
                <a:gd name="connsiteY104" fmla="*/ 325000 h 606722"/>
                <a:gd name="connsiteX105" fmla="*/ 325000 h 606722"/>
                <a:gd name="connsiteY105" fmla="*/ 325000 h 606722"/>
                <a:gd name="connsiteX106" fmla="*/ 325000 h 606722"/>
                <a:gd name="connsiteY106" fmla="*/ 325000 h 606722"/>
                <a:gd name="connsiteX107" fmla="*/ 325000 h 606722"/>
                <a:gd name="connsiteY107" fmla="*/ 325000 h 606722"/>
                <a:gd name="connsiteX108" fmla="*/ 325000 h 606722"/>
                <a:gd name="connsiteY108" fmla="*/ 325000 h 606722"/>
                <a:gd name="connsiteX109" fmla="*/ 325000 h 606722"/>
                <a:gd name="connsiteY109" fmla="*/ 325000 h 606722"/>
                <a:gd name="connsiteX110" fmla="*/ 325000 h 606722"/>
                <a:gd name="connsiteY110" fmla="*/ 325000 h 606722"/>
                <a:gd name="connsiteX111" fmla="*/ 325000 h 606722"/>
                <a:gd name="connsiteY111" fmla="*/ 325000 h 606722"/>
                <a:gd name="connsiteX112" fmla="*/ 325000 h 606722"/>
                <a:gd name="connsiteY112" fmla="*/ 325000 h 606722"/>
                <a:gd name="connsiteX113" fmla="*/ 325000 h 606722"/>
                <a:gd name="connsiteY113" fmla="*/ 325000 h 606722"/>
                <a:gd name="connsiteX114" fmla="*/ 325000 h 606722"/>
                <a:gd name="connsiteY114" fmla="*/ 325000 h 606722"/>
                <a:gd name="connsiteX115" fmla="*/ 325000 h 606722"/>
                <a:gd name="connsiteY115" fmla="*/ 325000 h 606722"/>
                <a:gd name="connsiteX116" fmla="*/ 325000 h 606722"/>
                <a:gd name="connsiteY116" fmla="*/ 325000 h 606722"/>
                <a:gd name="connsiteX117" fmla="*/ 325000 h 606722"/>
                <a:gd name="connsiteY117" fmla="*/ 325000 h 606722"/>
                <a:gd name="connsiteX118" fmla="*/ 325000 h 606722"/>
                <a:gd name="connsiteY118" fmla="*/ 325000 h 606722"/>
                <a:gd name="connsiteX119" fmla="*/ 325000 h 606722"/>
                <a:gd name="connsiteY119" fmla="*/ 325000 h 606722"/>
                <a:gd name="connsiteX120" fmla="*/ 325000 h 606722"/>
                <a:gd name="connsiteY120" fmla="*/ 325000 h 606722"/>
                <a:gd name="connsiteX121" fmla="*/ 325000 h 606722"/>
                <a:gd name="connsiteY121" fmla="*/ 325000 h 606722"/>
                <a:gd name="connsiteX122" fmla="*/ 325000 h 606722"/>
                <a:gd name="connsiteY122" fmla="*/ 325000 h 606722"/>
                <a:gd name="connsiteX123" fmla="*/ 325000 h 606722"/>
                <a:gd name="connsiteY123" fmla="*/ 325000 h 606722"/>
                <a:gd name="connsiteX124" fmla="*/ 325000 h 606722"/>
                <a:gd name="connsiteY124" fmla="*/ 325000 h 606722"/>
                <a:gd name="connsiteX125" fmla="*/ 325000 h 606722"/>
                <a:gd name="connsiteY125" fmla="*/ 325000 h 606722"/>
                <a:gd name="connsiteX126" fmla="*/ 325000 h 606722"/>
                <a:gd name="connsiteY126" fmla="*/ 325000 h 606722"/>
                <a:gd name="connsiteX127" fmla="*/ 325000 h 606722"/>
                <a:gd name="connsiteY127" fmla="*/ 325000 h 606722"/>
                <a:gd name="connsiteX128" fmla="*/ 325000 h 606722"/>
                <a:gd name="connsiteY128" fmla="*/ 325000 h 606722"/>
                <a:gd name="connsiteX129" fmla="*/ 325000 h 606722"/>
                <a:gd name="connsiteY129" fmla="*/ 325000 h 606722"/>
                <a:gd name="connsiteX130" fmla="*/ 325000 h 606722"/>
                <a:gd name="connsiteY130" fmla="*/ 325000 h 606722"/>
                <a:gd name="connsiteX131" fmla="*/ 325000 h 606722"/>
                <a:gd name="connsiteY131" fmla="*/ 325000 h 606722"/>
                <a:gd name="connsiteX132" fmla="*/ 325000 h 606722"/>
                <a:gd name="connsiteY132" fmla="*/ 325000 h 606722"/>
                <a:gd name="connsiteX133" fmla="*/ 325000 h 606722"/>
                <a:gd name="connsiteY133" fmla="*/ 325000 h 606722"/>
                <a:gd name="connsiteX134" fmla="*/ 325000 h 606722"/>
                <a:gd name="connsiteY134" fmla="*/ 325000 h 606722"/>
                <a:gd name="connsiteX135" fmla="*/ 325000 h 606722"/>
                <a:gd name="connsiteY135" fmla="*/ 325000 h 606722"/>
                <a:gd name="connsiteX136" fmla="*/ 325000 h 606722"/>
                <a:gd name="connsiteY136" fmla="*/ 32500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607639" h="606722">
                  <a:moveTo>
                    <a:pt x="486081" y="475259"/>
                  </a:moveTo>
                  <a:cubicBezTo>
                    <a:pt x="497298" y="475259"/>
                    <a:pt x="506378" y="484329"/>
                    <a:pt x="506378" y="495443"/>
                  </a:cubicBezTo>
                  <a:cubicBezTo>
                    <a:pt x="506378" y="502912"/>
                    <a:pt x="502283" y="509403"/>
                    <a:pt x="496230" y="512871"/>
                  </a:cubicBezTo>
                  <a:lnTo>
                    <a:pt x="496230" y="535900"/>
                  </a:lnTo>
                  <a:cubicBezTo>
                    <a:pt x="496230" y="541502"/>
                    <a:pt x="491690" y="546036"/>
                    <a:pt x="486081" y="546036"/>
                  </a:cubicBezTo>
                  <a:cubicBezTo>
                    <a:pt x="480562" y="546036"/>
                    <a:pt x="476022" y="541502"/>
                    <a:pt x="476022" y="535900"/>
                  </a:cubicBezTo>
                  <a:lnTo>
                    <a:pt x="476022" y="512871"/>
                  </a:lnTo>
                  <a:cubicBezTo>
                    <a:pt x="469968" y="509403"/>
                    <a:pt x="465873" y="502912"/>
                    <a:pt x="465873" y="495443"/>
                  </a:cubicBezTo>
                  <a:cubicBezTo>
                    <a:pt x="465873" y="484329"/>
                    <a:pt x="474953" y="475259"/>
                    <a:pt x="486081" y="475259"/>
                  </a:cubicBezTo>
                  <a:close/>
                  <a:moveTo>
                    <a:pt x="415190" y="424698"/>
                  </a:moveTo>
                  <a:cubicBezTo>
                    <a:pt x="398455" y="424698"/>
                    <a:pt x="384836" y="438297"/>
                    <a:pt x="384836" y="455006"/>
                  </a:cubicBezTo>
                  <a:lnTo>
                    <a:pt x="384836" y="556150"/>
                  </a:lnTo>
                  <a:cubicBezTo>
                    <a:pt x="384836" y="572859"/>
                    <a:pt x="398455" y="586458"/>
                    <a:pt x="415190" y="586458"/>
                  </a:cubicBezTo>
                  <a:lnTo>
                    <a:pt x="556990" y="586458"/>
                  </a:lnTo>
                  <a:cubicBezTo>
                    <a:pt x="573725" y="586458"/>
                    <a:pt x="587344" y="572859"/>
                    <a:pt x="587344" y="556150"/>
                  </a:cubicBezTo>
                  <a:lnTo>
                    <a:pt x="587344" y="455006"/>
                  </a:lnTo>
                  <a:cubicBezTo>
                    <a:pt x="587344" y="438297"/>
                    <a:pt x="573725" y="424698"/>
                    <a:pt x="556990" y="424698"/>
                  </a:cubicBezTo>
                  <a:close/>
                  <a:moveTo>
                    <a:pt x="111409" y="404481"/>
                  </a:moveTo>
                  <a:lnTo>
                    <a:pt x="293724" y="404481"/>
                  </a:lnTo>
                  <a:cubicBezTo>
                    <a:pt x="299244" y="404481"/>
                    <a:pt x="303784" y="409011"/>
                    <a:pt x="303784" y="414607"/>
                  </a:cubicBezTo>
                  <a:cubicBezTo>
                    <a:pt x="303784" y="420203"/>
                    <a:pt x="299244" y="424733"/>
                    <a:pt x="293724" y="424733"/>
                  </a:cubicBezTo>
                  <a:lnTo>
                    <a:pt x="111409" y="424733"/>
                  </a:lnTo>
                  <a:cubicBezTo>
                    <a:pt x="105801" y="424733"/>
                    <a:pt x="101261" y="420203"/>
                    <a:pt x="101261" y="414607"/>
                  </a:cubicBezTo>
                  <a:cubicBezTo>
                    <a:pt x="101261" y="409011"/>
                    <a:pt x="105801" y="404481"/>
                    <a:pt x="111409" y="404481"/>
                  </a:cubicBezTo>
                  <a:close/>
                  <a:moveTo>
                    <a:pt x="10146" y="323613"/>
                  </a:moveTo>
                  <a:lnTo>
                    <a:pt x="394900" y="323613"/>
                  </a:lnTo>
                  <a:cubicBezTo>
                    <a:pt x="400507" y="323613"/>
                    <a:pt x="405046" y="328145"/>
                    <a:pt x="405046" y="333743"/>
                  </a:cubicBezTo>
                  <a:cubicBezTo>
                    <a:pt x="405046" y="339252"/>
                    <a:pt x="400507" y="343784"/>
                    <a:pt x="394900" y="343784"/>
                  </a:cubicBezTo>
                  <a:lnTo>
                    <a:pt x="20292" y="343784"/>
                  </a:lnTo>
                  <a:lnTo>
                    <a:pt x="20292" y="455039"/>
                  </a:lnTo>
                  <a:cubicBezTo>
                    <a:pt x="20292" y="469790"/>
                    <a:pt x="35867" y="485341"/>
                    <a:pt x="50642" y="485341"/>
                  </a:cubicBezTo>
                  <a:lnTo>
                    <a:pt x="334201" y="485341"/>
                  </a:lnTo>
                  <a:cubicBezTo>
                    <a:pt x="339719" y="485341"/>
                    <a:pt x="344258" y="489873"/>
                    <a:pt x="344258" y="495471"/>
                  </a:cubicBezTo>
                  <a:cubicBezTo>
                    <a:pt x="344258" y="501069"/>
                    <a:pt x="339719" y="505601"/>
                    <a:pt x="334201" y="505601"/>
                  </a:cubicBezTo>
                  <a:lnTo>
                    <a:pt x="50642" y="505601"/>
                  </a:lnTo>
                  <a:cubicBezTo>
                    <a:pt x="24564" y="505601"/>
                    <a:pt x="0" y="480987"/>
                    <a:pt x="0" y="455039"/>
                  </a:cubicBezTo>
                  <a:lnTo>
                    <a:pt x="0" y="333743"/>
                  </a:lnTo>
                  <a:cubicBezTo>
                    <a:pt x="0" y="328145"/>
                    <a:pt x="4539" y="323613"/>
                    <a:pt x="10146" y="323613"/>
                  </a:cubicBezTo>
                  <a:close/>
                  <a:moveTo>
                    <a:pt x="486046" y="323554"/>
                  </a:moveTo>
                  <a:cubicBezTo>
                    <a:pt x="463703" y="323554"/>
                    <a:pt x="445544" y="341685"/>
                    <a:pt x="445544" y="363994"/>
                  </a:cubicBezTo>
                  <a:lnTo>
                    <a:pt x="445544" y="404434"/>
                  </a:lnTo>
                  <a:lnTo>
                    <a:pt x="526547" y="404434"/>
                  </a:lnTo>
                  <a:lnTo>
                    <a:pt x="526547" y="363994"/>
                  </a:lnTo>
                  <a:cubicBezTo>
                    <a:pt x="526547" y="341685"/>
                    <a:pt x="508388" y="323554"/>
                    <a:pt x="486046" y="323554"/>
                  </a:cubicBezTo>
                  <a:close/>
                  <a:moveTo>
                    <a:pt x="486046" y="303290"/>
                  </a:moveTo>
                  <a:cubicBezTo>
                    <a:pt x="519604" y="303290"/>
                    <a:pt x="546842" y="330576"/>
                    <a:pt x="546842" y="363994"/>
                  </a:cubicBezTo>
                  <a:lnTo>
                    <a:pt x="546842" y="404434"/>
                  </a:lnTo>
                  <a:lnTo>
                    <a:pt x="556990" y="404434"/>
                  </a:lnTo>
                  <a:cubicBezTo>
                    <a:pt x="584852" y="404434"/>
                    <a:pt x="607639" y="427098"/>
                    <a:pt x="607639" y="455006"/>
                  </a:cubicBezTo>
                  <a:lnTo>
                    <a:pt x="607639" y="556150"/>
                  </a:lnTo>
                  <a:cubicBezTo>
                    <a:pt x="607639" y="583969"/>
                    <a:pt x="584852" y="606722"/>
                    <a:pt x="556990" y="606722"/>
                  </a:cubicBezTo>
                  <a:lnTo>
                    <a:pt x="415190" y="606722"/>
                  </a:lnTo>
                  <a:cubicBezTo>
                    <a:pt x="387239" y="606722"/>
                    <a:pt x="364541" y="583969"/>
                    <a:pt x="364541" y="556150"/>
                  </a:cubicBezTo>
                  <a:lnTo>
                    <a:pt x="364541" y="455006"/>
                  </a:lnTo>
                  <a:cubicBezTo>
                    <a:pt x="364541" y="427098"/>
                    <a:pt x="387239" y="404434"/>
                    <a:pt x="415190" y="404434"/>
                  </a:cubicBezTo>
                  <a:lnTo>
                    <a:pt x="425338" y="404434"/>
                  </a:lnTo>
                  <a:lnTo>
                    <a:pt x="425338" y="363994"/>
                  </a:lnTo>
                  <a:cubicBezTo>
                    <a:pt x="425338" y="330576"/>
                    <a:pt x="452576" y="303290"/>
                    <a:pt x="486046" y="303290"/>
                  </a:cubicBezTo>
                  <a:close/>
                  <a:moveTo>
                    <a:pt x="111409" y="242745"/>
                  </a:moveTo>
                  <a:lnTo>
                    <a:pt x="293724" y="242745"/>
                  </a:lnTo>
                  <a:cubicBezTo>
                    <a:pt x="299244" y="242745"/>
                    <a:pt x="303784" y="247263"/>
                    <a:pt x="303784" y="252756"/>
                  </a:cubicBezTo>
                  <a:cubicBezTo>
                    <a:pt x="303784" y="258337"/>
                    <a:pt x="299244" y="262856"/>
                    <a:pt x="293724" y="262856"/>
                  </a:cubicBezTo>
                  <a:lnTo>
                    <a:pt x="111409" y="262856"/>
                  </a:lnTo>
                  <a:cubicBezTo>
                    <a:pt x="105801" y="262856"/>
                    <a:pt x="101261" y="258337"/>
                    <a:pt x="101261" y="252756"/>
                  </a:cubicBezTo>
                  <a:cubicBezTo>
                    <a:pt x="101261" y="247263"/>
                    <a:pt x="105801" y="242745"/>
                    <a:pt x="111409" y="242745"/>
                  </a:cubicBezTo>
                  <a:close/>
                  <a:moveTo>
                    <a:pt x="476008" y="242704"/>
                  </a:moveTo>
                  <a:cubicBezTo>
                    <a:pt x="470398" y="242704"/>
                    <a:pt x="465855" y="247240"/>
                    <a:pt x="465855" y="252756"/>
                  </a:cubicBezTo>
                  <a:cubicBezTo>
                    <a:pt x="465855" y="258360"/>
                    <a:pt x="470398" y="262897"/>
                    <a:pt x="476008" y="262897"/>
                  </a:cubicBezTo>
                  <a:cubicBezTo>
                    <a:pt x="481530" y="262897"/>
                    <a:pt x="486072" y="258360"/>
                    <a:pt x="486072" y="252756"/>
                  </a:cubicBezTo>
                  <a:cubicBezTo>
                    <a:pt x="486072" y="247240"/>
                    <a:pt x="481530" y="242704"/>
                    <a:pt x="476008" y="242704"/>
                  </a:cubicBezTo>
                  <a:close/>
                  <a:moveTo>
                    <a:pt x="394910" y="242704"/>
                  </a:moveTo>
                  <a:cubicBezTo>
                    <a:pt x="389388" y="242704"/>
                    <a:pt x="384846" y="247240"/>
                    <a:pt x="384846" y="252756"/>
                  </a:cubicBezTo>
                  <a:cubicBezTo>
                    <a:pt x="384846" y="258360"/>
                    <a:pt x="389388" y="262897"/>
                    <a:pt x="394910" y="262897"/>
                  </a:cubicBezTo>
                  <a:cubicBezTo>
                    <a:pt x="400520" y="262897"/>
                    <a:pt x="405062" y="258360"/>
                    <a:pt x="405062" y="252756"/>
                  </a:cubicBezTo>
                  <a:cubicBezTo>
                    <a:pt x="405062" y="247240"/>
                    <a:pt x="400520" y="242704"/>
                    <a:pt x="394910" y="242704"/>
                  </a:cubicBezTo>
                  <a:close/>
                  <a:moveTo>
                    <a:pt x="476008" y="222422"/>
                  </a:moveTo>
                  <a:cubicBezTo>
                    <a:pt x="492751" y="222422"/>
                    <a:pt x="506377" y="236032"/>
                    <a:pt x="506377" y="252756"/>
                  </a:cubicBezTo>
                  <a:cubicBezTo>
                    <a:pt x="506377" y="269568"/>
                    <a:pt x="492751" y="283179"/>
                    <a:pt x="476008" y="283179"/>
                  </a:cubicBezTo>
                  <a:cubicBezTo>
                    <a:pt x="459176" y="283179"/>
                    <a:pt x="445550" y="269568"/>
                    <a:pt x="445550" y="252756"/>
                  </a:cubicBezTo>
                  <a:cubicBezTo>
                    <a:pt x="445550" y="236032"/>
                    <a:pt x="459176" y="222422"/>
                    <a:pt x="476008" y="222422"/>
                  </a:cubicBezTo>
                  <a:close/>
                  <a:moveTo>
                    <a:pt x="394910" y="222422"/>
                  </a:moveTo>
                  <a:cubicBezTo>
                    <a:pt x="411742" y="222422"/>
                    <a:pt x="425368" y="236032"/>
                    <a:pt x="425368" y="252756"/>
                  </a:cubicBezTo>
                  <a:cubicBezTo>
                    <a:pt x="425368" y="269568"/>
                    <a:pt x="411742" y="283179"/>
                    <a:pt x="394910" y="283179"/>
                  </a:cubicBezTo>
                  <a:cubicBezTo>
                    <a:pt x="378167" y="283179"/>
                    <a:pt x="364541" y="269568"/>
                    <a:pt x="364541" y="252756"/>
                  </a:cubicBezTo>
                  <a:cubicBezTo>
                    <a:pt x="364541" y="236032"/>
                    <a:pt x="378167" y="222422"/>
                    <a:pt x="394910" y="222422"/>
                  </a:cubicBezTo>
                  <a:close/>
                  <a:moveTo>
                    <a:pt x="10146" y="161736"/>
                  </a:moveTo>
                  <a:lnTo>
                    <a:pt x="556988" y="161736"/>
                  </a:lnTo>
                  <a:cubicBezTo>
                    <a:pt x="562595" y="161736"/>
                    <a:pt x="567134" y="166268"/>
                    <a:pt x="567134" y="171866"/>
                  </a:cubicBezTo>
                  <a:cubicBezTo>
                    <a:pt x="567134" y="177464"/>
                    <a:pt x="562595" y="181996"/>
                    <a:pt x="556988" y="181996"/>
                  </a:cubicBezTo>
                  <a:lnTo>
                    <a:pt x="20293" y="181996"/>
                  </a:lnTo>
                  <a:lnTo>
                    <a:pt x="20293" y="293249"/>
                  </a:lnTo>
                  <a:cubicBezTo>
                    <a:pt x="20293" y="298758"/>
                    <a:pt x="15753" y="303290"/>
                    <a:pt x="10146" y="303290"/>
                  </a:cubicBezTo>
                  <a:cubicBezTo>
                    <a:pt x="4539" y="303290"/>
                    <a:pt x="0" y="298758"/>
                    <a:pt x="0" y="293249"/>
                  </a:cubicBezTo>
                  <a:lnTo>
                    <a:pt x="0" y="171866"/>
                  </a:lnTo>
                  <a:cubicBezTo>
                    <a:pt x="0" y="166268"/>
                    <a:pt x="4539" y="161736"/>
                    <a:pt x="10146" y="161736"/>
                  </a:cubicBezTo>
                  <a:close/>
                  <a:moveTo>
                    <a:pt x="111409" y="80868"/>
                  </a:moveTo>
                  <a:lnTo>
                    <a:pt x="293724" y="80868"/>
                  </a:lnTo>
                  <a:cubicBezTo>
                    <a:pt x="299244" y="80868"/>
                    <a:pt x="303784" y="85398"/>
                    <a:pt x="303784" y="90994"/>
                  </a:cubicBezTo>
                  <a:cubicBezTo>
                    <a:pt x="303784" y="96590"/>
                    <a:pt x="299244" y="101120"/>
                    <a:pt x="293724" y="101120"/>
                  </a:cubicBezTo>
                  <a:lnTo>
                    <a:pt x="111409" y="101120"/>
                  </a:lnTo>
                  <a:cubicBezTo>
                    <a:pt x="105801" y="101120"/>
                    <a:pt x="101261" y="96590"/>
                    <a:pt x="101261" y="90994"/>
                  </a:cubicBezTo>
                  <a:cubicBezTo>
                    <a:pt x="101261" y="85398"/>
                    <a:pt x="105801" y="80868"/>
                    <a:pt x="111409" y="80868"/>
                  </a:cubicBezTo>
                  <a:close/>
                  <a:moveTo>
                    <a:pt x="476008" y="80861"/>
                  </a:moveTo>
                  <a:cubicBezTo>
                    <a:pt x="470398" y="80861"/>
                    <a:pt x="465855" y="85394"/>
                    <a:pt x="465855" y="90994"/>
                  </a:cubicBezTo>
                  <a:cubicBezTo>
                    <a:pt x="465855" y="96593"/>
                    <a:pt x="470398" y="101126"/>
                    <a:pt x="476008" y="101126"/>
                  </a:cubicBezTo>
                  <a:cubicBezTo>
                    <a:pt x="481530" y="101126"/>
                    <a:pt x="486072" y="96593"/>
                    <a:pt x="486072" y="90994"/>
                  </a:cubicBezTo>
                  <a:cubicBezTo>
                    <a:pt x="486072" y="85394"/>
                    <a:pt x="481530" y="80861"/>
                    <a:pt x="476008" y="80861"/>
                  </a:cubicBezTo>
                  <a:close/>
                  <a:moveTo>
                    <a:pt x="394910" y="80861"/>
                  </a:moveTo>
                  <a:cubicBezTo>
                    <a:pt x="389388" y="80861"/>
                    <a:pt x="384846" y="85394"/>
                    <a:pt x="384846" y="90994"/>
                  </a:cubicBezTo>
                  <a:cubicBezTo>
                    <a:pt x="384846" y="96593"/>
                    <a:pt x="389388" y="101126"/>
                    <a:pt x="394910" y="101126"/>
                  </a:cubicBezTo>
                  <a:cubicBezTo>
                    <a:pt x="400520" y="101126"/>
                    <a:pt x="405062" y="96593"/>
                    <a:pt x="405062" y="90994"/>
                  </a:cubicBezTo>
                  <a:cubicBezTo>
                    <a:pt x="405062" y="85394"/>
                    <a:pt x="400520" y="80861"/>
                    <a:pt x="394910" y="80861"/>
                  </a:cubicBezTo>
                  <a:close/>
                  <a:moveTo>
                    <a:pt x="476008" y="60686"/>
                  </a:moveTo>
                  <a:cubicBezTo>
                    <a:pt x="492751" y="60686"/>
                    <a:pt x="506377" y="74284"/>
                    <a:pt x="506377" y="90994"/>
                  </a:cubicBezTo>
                  <a:cubicBezTo>
                    <a:pt x="506377" y="107703"/>
                    <a:pt x="492751" y="121302"/>
                    <a:pt x="476008" y="121302"/>
                  </a:cubicBezTo>
                  <a:cubicBezTo>
                    <a:pt x="459176" y="121302"/>
                    <a:pt x="445550" y="107703"/>
                    <a:pt x="445550" y="90994"/>
                  </a:cubicBezTo>
                  <a:cubicBezTo>
                    <a:pt x="445550" y="74284"/>
                    <a:pt x="459176" y="60686"/>
                    <a:pt x="476008" y="60686"/>
                  </a:cubicBezTo>
                  <a:close/>
                  <a:moveTo>
                    <a:pt x="394910" y="60686"/>
                  </a:moveTo>
                  <a:cubicBezTo>
                    <a:pt x="411742" y="60686"/>
                    <a:pt x="425368" y="74284"/>
                    <a:pt x="425368" y="90994"/>
                  </a:cubicBezTo>
                  <a:cubicBezTo>
                    <a:pt x="425368" y="107703"/>
                    <a:pt x="411742" y="121302"/>
                    <a:pt x="394910" y="121302"/>
                  </a:cubicBezTo>
                  <a:cubicBezTo>
                    <a:pt x="378167" y="121302"/>
                    <a:pt x="364541" y="107703"/>
                    <a:pt x="364541" y="90994"/>
                  </a:cubicBezTo>
                  <a:cubicBezTo>
                    <a:pt x="364541" y="74284"/>
                    <a:pt x="378167" y="60686"/>
                    <a:pt x="394910" y="60686"/>
                  </a:cubicBezTo>
                  <a:close/>
                  <a:moveTo>
                    <a:pt x="50644" y="0"/>
                  </a:moveTo>
                  <a:lnTo>
                    <a:pt x="556995" y="0"/>
                  </a:lnTo>
                  <a:cubicBezTo>
                    <a:pt x="582985" y="0"/>
                    <a:pt x="607639" y="24528"/>
                    <a:pt x="607639" y="50567"/>
                  </a:cubicBezTo>
                  <a:lnTo>
                    <a:pt x="607639" y="384277"/>
                  </a:lnTo>
                  <a:cubicBezTo>
                    <a:pt x="607639" y="389787"/>
                    <a:pt x="603100" y="394320"/>
                    <a:pt x="597493" y="394320"/>
                  </a:cubicBezTo>
                  <a:cubicBezTo>
                    <a:pt x="591885" y="394320"/>
                    <a:pt x="587346" y="389787"/>
                    <a:pt x="587346" y="384277"/>
                  </a:cubicBezTo>
                  <a:lnTo>
                    <a:pt x="587346" y="50567"/>
                  </a:lnTo>
                  <a:cubicBezTo>
                    <a:pt x="587346" y="35815"/>
                    <a:pt x="571770" y="20262"/>
                    <a:pt x="556995" y="20262"/>
                  </a:cubicBezTo>
                  <a:lnTo>
                    <a:pt x="50644" y="20262"/>
                  </a:lnTo>
                  <a:cubicBezTo>
                    <a:pt x="35869" y="20262"/>
                    <a:pt x="20293" y="35815"/>
                    <a:pt x="20293" y="50567"/>
                  </a:cubicBezTo>
                  <a:lnTo>
                    <a:pt x="20293" y="131440"/>
                  </a:lnTo>
                  <a:cubicBezTo>
                    <a:pt x="20293" y="137039"/>
                    <a:pt x="15754" y="141571"/>
                    <a:pt x="10146" y="141571"/>
                  </a:cubicBezTo>
                  <a:cubicBezTo>
                    <a:pt x="4539" y="141571"/>
                    <a:pt x="0" y="137039"/>
                    <a:pt x="0" y="131440"/>
                  </a:cubicBezTo>
                  <a:lnTo>
                    <a:pt x="0" y="50567"/>
                  </a:lnTo>
                  <a:cubicBezTo>
                    <a:pt x="0" y="24528"/>
                    <a:pt x="24565" y="0"/>
                    <a:pt x="50644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31" name="server_182394"/>
            <p:cNvSpPr>
              <a:spLocks noChangeAspect="1"/>
            </p:cNvSpPr>
            <p:nvPr/>
          </p:nvSpPr>
          <p:spPr bwMode="auto">
            <a:xfrm>
              <a:off x="5054825" y="1920967"/>
              <a:ext cx="383821" cy="406718"/>
            </a:xfrm>
            <a:custGeom>
              <a:avLst/>
              <a:gdLst>
                <a:gd name="connsiteX0" fmla="*/ 325000 h 606722"/>
                <a:gd name="connsiteY0" fmla="*/ 325000 h 606722"/>
                <a:gd name="connsiteX1" fmla="*/ 325000 h 606722"/>
                <a:gd name="connsiteY1" fmla="*/ 325000 h 606722"/>
                <a:gd name="connsiteX2" fmla="*/ 325000 h 606722"/>
                <a:gd name="connsiteY2" fmla="*/ 325000 h 606722"/>
                <a:gd name="connsiteX3" fmla="*/ 325000 h 606722"/>
                <a:gd name="connsiteY3" fmla="*/ 325000 h 606722"/>
                <a:gd name="connsiteX4" fmla="*/ 325000 h 606722"/>
                <a:gd name="connsiteY4" fmla="*/ 325000 h 606722"/>
                <a:gd name="connsiteX5" fmla="*/ 325000 h 606722"/>
                <a:gd name="connsiteY5" fmla="*/ 325000 h 606722"/>
                <a:gd name="connsiteX6" fmla="*/ 325000 h 606722"/>
                <a:gd name="connsiteY6" fmla="*/ 325000 h 606722"/>
                <a:gd name="connsiteX7" fmla="*/ 325000 h 606722"/>
                <a:gd name="connsiteY7" fmla="*/ 325000 h 606722"/>
                <a:gd name="connsiteX8" fmla="*/ 325000 h 606722"/>
                <a:gd name="connsiteY8" fmla="*/ 325000 h 606722"/>
                <a:gd name="connsiteX9" fmla="*/ 325000 h 606722"/>
                <a:gd name="connsiteY9" fmla="*/ 325000 h 606722"/>
                <a:gd name="connsiteX10" fmla="*/ 325000 h 606722"/>
                <a:gd name="connsiteY10" fmla="*/ 325000 h 606722"/>
                <a:gd name="connsiteX11" fmla="*/ 325000 h 606722"/>
                <a:gd name="connsiteY11" fmla="*/ 325000 h 606722"/>
                <a:gd name="connsiteX12" fmla="*/ 325000 h 606722"/>
                <a:gd name="connsiteY12" fmla="*/ 325000 h 606722"/>
                <a:gd name="connsiteX13" fmla="*/ 325000 h 606722"/>
                <a:gd name="connsiteY13" fmla="*/ 325000 h 606722"/>
                <a:gd name="connsiteX14" fmla="*/ 325000 h 606722"/>
                <a:gd name="connsiteY14" fmla="*/ 325000 h 606722"/>
                <a:gd name="connsiteX15" fmla="*/ 325000 h 606722"/>
                <a:gd name="connsiteY15" fmla="*/ 325000 h 606722"/>
                <a:gd name="connsiteX16" fmla="*/ 325000 h 606722"/>
                <a:gd name="connsiteY16" fmla="*/ 325000 h 606722"/>
                <a:gd name="connsiteX17" fmla="*/ 325000 h 606722"/>
                <a:gd name="connsiteY17" fmla="*/ 325000 h 606722"/>
                <a:gd name="connsiteX18" fmla="*/ 325000 h 606722"/>
                <a:gd name="connsiteY18" fmla="*/ 325000 h 606722"/>
                <a:gd name="connsiteX19" fmla="*/ 325000 h 606722"/>
                <a:gd name="connsiteY19" fmla="*/ 325000 h 606722"/>
                <a:gd name="connsiteX20" fmla="*/ 325000 h 606722"/>
                <a:gd name="connsiteY20" fmla="*/ 325000 h 606722"/>
                <a:gd name="connsiteX21" fmla="*/ 325000 h 606722"/>
                <a:gd name="connsiteY21" fmla="*/ 325000 h 606722"/>
                <a:gd name="connsiteX22" fmla="*/ 325000 h 606722"/>
                <a:gd name="connsiteY22" fmla="*/ 325000 h 606722"/>
                <a:gd name="connsiteX23" fmla="*/ 325000 h 606722"/>
                <a:gd name="connsiteY23" fmla="*/ 325000 h 606722"/>
                <a:gd name="connsiteX24" fmla="*/ 325000 h 606722"/>
                <a:gd name="connsiteY24" fmla="*/ 325000 h 606722"/>
                <a:gd name="connsiteX25" fmla="*/ 325000 h 606722"/>
                <a:gd name="connsiteY25" fmla="*/ 325000 h 606722"/>
                <a:gd name="connsiteX26" fmla="*/ 325000 h 606722"/>
                <a:gd name="connsiteY26" fmla="*/ 325000 h 606722"/>
                <a:gd name="connsiteX27" fmla="*/ 325000 h 606722"/>
                <a:gd name="connsiteY27" fmla="*/ 325000 h 606722"/>
                <a:gd name="connsiteX28" fmla="*/ 325000 h 606722"/>
                <a:gd name="connsiteY28" fmla="*/ 325000 h 606722"/>
                <a:gd name="connsiteX29" fmla="*/ 325000 h 606722"/>
                <a:gd name="connsiteY29" fmla="*/ 325000 h 606722"/>
                <a:gd name="connsiteX30" fmla="*/ 325000 h 606722"/>
                <a:gd name="connsiteY30" fmla="*/ 325000 h 606722"/>
                <a:gd name="connsiteX31" fmla="*/ 325000 h 606722"/>
                <a:gd name="connsiteY31" fmla="*/ 325000 h 606722"/>
                <a:gd name="connsiteX32" fmla="*/ 325000 h 606722"/>
                <a:gd name="connsiteY32" fmla="*/ 325000 h 606722"/>
                <a:gd name="connsiteX33" fmla="*/ 325000 h 606722"/>
                <a:gd name="connsiteY33" fmla="*/ 325000 h 606722"/>
                <a:gd name="connsiteX34" fmla="*/ 325000 h 606722"/>
                <a:gd name="connsiteY34" fmla="*/ 325000 h 606722"/>
                <a:gd name="connsiteX35" fmla="*/ 325000 h 606722"/>
                <a:gd name="connsiteY35" fmla="*/ 325000 h 606722"/>
                <a:gd name="connsiteX36" fmla="*/ 325000 h 606722"/>
                <a:gd name="connsiteY36" fmla="*/ 325000 h 606722"/>
                <a:gd name="connsiteX37" fmla="*/ 325000 h 606722"/>
                <a:gd name="connsiteY37" fmla="*/ 325000 h 606722"/>
                <a:gd name="connsiteX38" fmla="*/ 325000 h 606722"/>
                <a:gd name="connsiteY38" fmla="*/ 325000 h 606722"/>
                <a:gd name="connsiteX39" fmla="*/ 325000 h 606722"/>
                <a:gd name="connsiteY39" fmla="*/ 325000 h 606722"/>
                <a:gd name="connsiteX40" fmla="*/ 325000 h 606722"/>
                <a:gd name="connsiteY40" fmla="*/ 325000 h 606722"/>
                <a:gd name="connsiteX41" fmla="*/ 325000 h 606722"/>
                <a:gd name="connsiteY41" fmla="*/ 325000 h 606722"/>
                <a:gd name="connsiteX42" fmla="*/ 325000 h 606722"/>
                <a:gd name="connsiteY42" fmla="*/ 325000 h 606722"/>
                <a:gd name="connsiteX43" fmla="*/ 325000 h 606722"/>
                <a:gd name="connsiteY43" fmla="*/ 325000 h 606722"/>
                <a:gd name="connsiteX44" fmla="*/ 325000 h 606722"/>
                <a:gd name="connsiteY44" fmla="*/ 325000 h 606722"/>
                <a:gd name="connsiteX45" fmla="*/ 325000 h 606722"/>
                <a:gd name="connsiteY45" fmla="*/ 325000 h 606722"/>
                <a:gd name="connsiteX46" fmla="*/ 325000 h 606722"/>
                <a:gd name="connsiteY46" fmla="*/ 325000 h 606722"/>
                <a:gd name="connsiteX47" fmla="*/ 325000 h 606722"/>
                <a:gd name="connsiteY47" fmla="*/ 325000 h 606722"/>
                <a:gd name="connsiteX48" fmla="*/ 325000 h 606722"/>
                <a:gd name="connsiteY48" fmla="*/ 325000 h 606722"/>
                <a:gd name="connsiteX49" fmla="*/ 325000 h 606722"/>
                <a:gd name="connsiteY49" fmla="*/ 325000 h 606722"/>
                <a:gd name="connsiteX50" fmla="*/ 325000 h 606722"/>
                <a:gd name="connsiteY50" fmla="*/ 325000 h 606722"/>
                <a:gd name="connsiteX51" fmla="*/ 325000 h 606722"/>
                <a:gd name="connsiteY51" fmla="*/ 325000 h 606722"/>
                <a:gd name="connsiteX52" fmla="*/ 325000 h 606722"/>
                <a:gd name="connsiteY52" fmla="*/ 325000 h 606722"/>
                <a:gd name="connsiteX53" fmla="*/ 325000 h 606722"/>
                <a:gd name="connsiteY53" fmla="*/ 325000 h 606722"/>
                <a:gd name="connsiteX54" fmla="*/ 325000 h 606722"/>
                <a:gd name="connsiteY54" fmla="*/ 325000 h 606722"/>
                <a:gd name="connsiteX55" fmla="*/ 325000 h 606722"/>
                <a:gd name="connsiteY55" fmla="*/ 325000 h 606722"/>
                <a:gd name="connsiteX56" fmla="*/ 325000 h 606722"/>
                <a:gd name="connsiteY56" fmla="*/ 325000 h 606722"/>
                <a:gd name="connsiteX57" fmla="*/ 325000 h 606722"/>
                <a:gd name="connsiteY57" fmla="*/ 325000 h 606722"/>
                <a:gd name="connsiteX58" fmla="*/ 325000 h 606722"/>
                <a:gd name="connsiteY58" fmla="*/ 325000 h 606722"/>
                <a:gd name="connsiteX59" fmla="*/ 325000 h 606722"/>
                <a:gd name="connsiteY59" fmla="*/ 325000 h 606722"/>
                <a:gd name="connsiteX60" fmla="*/ 325000 h 606722"/>
                <a:gd name="connsiteY60" fmla="*/ 325000 h 606722"/>
                <a:gd name="connsiteX61" fmla="*/ 325000 h 606722"/>
                <a:gd name="connsiteY61" fmla="*/ 325000 h 606722"/>
                <a:gd name="connsiteX62" fmla="*/ 325000 h 606722"/>
                <a:gd name="connsiteY62" fmla="*/ 325000 h 606722"/>
                <a:gd name="connsiteX63" fmla="*/ 325000 h 606722"/>
                <a:gd name="connsiteY63" fmla="*/ 325000 h 606722"/>
                <a:gd name="connsiteX64" fmla="*/ 325000 h 606722"/>
                <a:gd name="connsiteY64" fmla="*/ 325000 h 606722"/>
                <a:gd name="connsiteX65" fmla="*/ 325000 h 606722"/>
                <a:gd name="connsiteY65" fmla="*/ 325000 h 606722"/>
                <a:gd name="connsiteX66" fmla="*/ 325000 h 606722"/>
                <a:gd name="connsiteY66" fmla="*/ 325000 h 606722"/>
                <a:gd name="connsiteX67" fmla="*/ 325000 h 606722"/>
                <a:gd name="connsiteY67" fmla="*/ 325000 h 606722"/>
                <a:gd name="connsiteX68" fmla="*/ 325000 h 606722"/>
                <a:gd name="connsiteY68" fmla="*/ 325000 h 606722"/>
                <a:gd name="connsiteX69" fmla="*/ 325000 h 606722"/>
                <a:gd name="connsiteY69" fmla="*/ 325000 h 606722"/>
                <a:gd name="connsiteX70" fmla="*/ 325000 h 606722"/>
                <a:gd name="connsiteY70" fmla="*/ 325000 h 606722"/>
                <a:gd name="connsiteX71" fmla="*/ 325000 h 606722"/>
                <a:gd name="connsiteY71" fmla="*/ 325000 h 606722"/>
                <a:gd name="connsiteX72" fmla="*/ 325000 h 606722"/>
                <a:gd name="connsiteY72" fmla="*/ 325000 h 606722"/>
                <a:gd name="connsiteX73" fmla="*/ 325000 h 606722"/>
                <a:gd name="connsiteY73" fmla="*/ 325000 h 606722"/>
                <a:gd name="connsiteX74" fmla="*/ 325000 h 606722"/>
                <a:gd name="connsiteY74" fmla="*/ 325000 h 606722"/>
                <a:gd name="connsiteX75" fmla="*/ 325000 h 606722"/>
                <a:gd name="connsiteY75" fmla="*/ 325000 h 606722"/>
                <a:gd name="connsiteX76" fmla="*/ 325000 h 606722"/>
                <a:gd name="connsiteY76" fmla="*/ 325000 h 606722"/>
                <a:gd name="connsiteX77" fmla="*/ 325000 h 606722"/>
                <a:gd name="connsiteY77" fmla="*/ 325000 h 606722"/>
                <a:gd name="connsiteX78" fmla="*/ 325000 h 606722"/>
                <a:gd name="connsiteY78" fmla="*/ 325000 h 606722"/>
                <a:gd name="connsiteX79" fmla="*/ 325000 h 606722"/>
                <a:gd name="connsiteY79" fmla="*/ 325000 h 606722"/>
                <a:gd name="connsiteX80" fmla="*/ 325000 h 606722"/>
                <a:gd name="connsiteY80" fmla="*/ 325000 h 606722"/>
                <a:gd name="connsiteX81" fmla="*/ 325000 h 606722"/>
                <a:gd name="connsiteY81" fmla="*/ 325000 h 606722"/>
                <a:gd name="connsiteX82" fmla="*/ 325000 h 606722"/>
                <a:gd name="connsiteY82" fmla="*/ 325000 h 606722"/>
                <a:gd name="connsiteX83" fmla="*/ 325000 h 606722"/>
                <a:gd name="connsiteY83" fmla="*/ 325000 h 606722"/>
                <a:gd name="connsiteX84" fmla="*/ 325000 h 606722"/>
                <a:gd name="connsiteY84" fmla="*/ 325000 h 606722"/>
                <a:gd name="connsiteX85" fmla="*/ 325000 h 606722"/>
                <a:gd name="connsiteY85" fmla="*/ 325000 h 606722"/>
                <a:gd name="connsiteX86" fmla="*/ 325000 h 606722"/>
                <a:gd name="connsiteY86" fmla="*/ 325000 h 606722"/>
                <a:gd name="connsiteX87" fmla="*/ 325000 h 606722"/>
                <a:gd name="connsiteY87" fmla="*/ 325000 h 606722"/>
                <a:gd name="connsiteX88" fmla="*/ 325000 h 606722"/>
                <a:gd name="connsiteY88" fmla="*/ 325000 h 606722"/>
                <a:gd name="connsiteX89" fmla="*/ 325000 h 606722"/>
                <a:gd name="connsiteY89" fmla="*/ 325000 h 606722"/>
                <a:gd name="connsiteX90" fmla="*/ 325000 h 606722"/>
                <a:gd name="connsiteY90" fmla="*/ 325000 h 606722"/>
                <a:gd name="connsiteX91" fmla="*/ 325000 h 606722"/>
                <a:gd name="connsiteY91" fmla="*/ 325000 h 606722"/>
                <a:gd name="connsiteX92" fmla="*/ 325000 h 606722"/>
                <a:gd name="connsiteY92" fmla="*/ 325000 h 606722"/>
                <a:gd name="connsiteX93" fmla="*/ 325000 h 606722"/>
                <a:gd name="connsiteY93" fmla="*/ 325000 h 606722"/>
                <a:gd name="connsiteX94" fmla="*/ 325000 h 606722"/>
                <a:gd name="connsiteY94" fmla="*/ 325000 h 606722"/>
                <a:gd name="connsiteX95" fmla="*/ 325000 h 606722"/>
                <a:gd name="connsiteY95" fmla="*/ 325000 h 606722"/>
                <a:gd name="connsiteX96" fmla="*/ 325000 h 606722"/>
                <a:gd name="connsiteY96" fmla="*/ 325000 h 606722"/>
                <a:gd name="connsiteX97" fmla="*/ 325000 h 606722"/>
                <a:gd name="connsiteY97" fmla="*/ 325000 h 606722"/>
                <a:gd name="connsiteX98" fmla="*/ 325000 h 606722"/>
                <a:gd name="connsiteY98" fmla="*/ 325000 h 606722"/>
                <a:gd name="connsiteX99" fmla="*/ 325000 h 606722"/>
                <a:gd name="connsiteY99" fmla="*/ 325000 h 606722"/>
                <a:gd name="connsiteX100" fmla="*/ 325000 h 606722"/>
                <a:gd name="connsiteY100" fmla="*/ 325000 h 606722"/>
                <a:gd name="connsiteX101" fmla="*/ 325000 h 606722"/>
                <a:gd name="connsiteY101" fmla="*/ 325000 h 606722"/>
                <a:gd name="connsiteX102" fmla="*/ 325000 h 606722"/>
                <a:gd name="connsiteY102" fmla="*/ 325000 h 606722"/>
                <a:gd name="connsiteX103" fmla="*/ 325000 h 606722"/>
                <a:gd name="connsiteY103" fmla="*/ 325000 h 606722"/>
                <a:gd name="connsiteX104" fmla="*/ 325000 h 606722"/>
                <a:gd name="connsiteY104" fmla="*/ 325000 h 606722"/>
                <a:gd name="connsiteX105" fmla="*/ 325000 h 606722"/>
                <a:gd name="connsiteY105" fmla="*/ 325000 h 606722"/>
                <a:gd name="connsiteX106" fmla="*/ 325000 h 606722"/>
                <a:gd name="connsiteY106" fmla="*/ 325000 h 606722"/>
                <a:gd name="connsiteX107" fmla="*/ 325000 h 606722"/>
                <a:gd name="connsiteY107" fmla="*/ 325000 h 606722"/>
                <a:gd name="connsiteX108" fmla="*/ 325000 h 606722"/>
                <a:gd name="connsiteY108" fmla="*/ 325000 h 606722"/>
                <a:gd name="connsiteX109" fmla="*/ 325000 h 606722"/>
                <a:gd name="connsiteY109" fmla="*/ 325000 h 606722"/>
                <a:gd name="connsiteX110" fmla="*/ 325000 h 606722"/>
                <a:gd name="connsiteY110" fmla="*/ 325000 h 606722"/>
                <a:gd name="connsiteX111" fmla="*/ 325000 h 606722"/>
                <a:gd name="connsiteY111" fmla="*/ 325000 h 606722"/>
                <a:gd name="connsiteX112" fmla="*/ 325000 h 606722"/>
                <a:gd name="connsiteY112" fmla="*/ 325000 h 606722"/>
                <a:gd name="connsiteX113" fmla="*/ 325000 h 606722"/>
                <a:gd name="connsiteY113" fmla="*/ 325000 h 606722"/>
                <a:gd name="connsiteX114" fmla="*/ 325000 h 606722"/>
                <a:gd name="connsiteY114" fmla="*/ 325000 h 606722"/>
                <a:gd name="connsiteX115" fmla="*/ 325000 h 606722"/>
                <a:gd name="connsiteY115" fmla="*/ 325000 h 606722"/>
                <a:gd name="connsiteX116" fmla="*/ 325000 h 606722"/>
                <a:gd name="connsiteY116" fmla="*/ 325000 h 606722"/>
                <a:gd name="connsiteX117" fmla="*/ 325000 h 606722"/>
                <a:gd name="connsiteY117" fmla="*/ 325000 h 606722"/>
                <a:gd name="connsiteX118" fmla="*/ 325000 h 606722"/>
                <a:gd name="connsiteY118" fmla="*/ 325000 h 606722"/>
                <a:gd name="connsiteX119" fmla="*/ 325000 h 606722"/>
                <a:gd name="connsiteY119" fmla="*/ 325000 h 606722"/>
                <a:gd name="connsiteX120" fmla="*/ 325000 h 606722"/>
                <a:gd name="connsiteY120" fmla="*/ 325000 h 606722"/>
                <a:gd name="connsiteX121" fmla="*/ 325000 h 606722"/>
                <a:gd name="connsiteY121" fmla="*/ 325000 h 606722"/>
                <a:gd name="connsiteX122" fmla="*/ 325000 h 606722"/>
                <a:gd name="connsiteY122" fmla="*/ 325000 h 606722"/>
                <a:gd name="connsiteX123" fmla="*/ 325000 h 606722"/>
                <a:gd name="connsiteY123" fmla="*/ 325000 h 606722"/>
                <a:gd name="connsiteX124" fmla="*/ 325000 h 606722"/>
                <a:gd name="connsiteY124" fmla="*/ 325000 h 606722"/>
                <a:gd name="connsiteX125" fmla="*/ 325000 h 606722"/>
                <a:gd name="connsiteY125" fmla="*/ 325000 h 606722"/>
                <a:gd name="connsiteX126" fmla="*/ 325000 h 606722"/>
                <a:gd name="connsiteY126" fmla="*/ 325000 h 606722"/>
                <a:gd name="connsiteX127" fmla="*/ 325000 h 606722"/>
                <a:gd name="connsiteY127" fmla="*/ 325000 h 606722"/>
                <a:gd name="connsiteX128" fmla="*/ 325000 h 606722"/>
                <a:gd name="connsiteY128" fmla="*/ 325000 h 606722"/>
                <a:gd name="connsiteX129" fmla="*/ 325000 h 606722"/>
                <a:gd name="connsiteY129" fmla="*/ 325000 h 606722"/>
                <a:gd name="connsiteX130" fmla="*/ 325000 h 606722"/>
                <a:gd name="connsiteY130" fmla="*/ 325000 h 606722"/>
                <a:gd name="connsiteX131" fmla="*/ 325000 h 606722"/>
                <a:gd name="connsiteY131" fmla="*/ 325000 h 606722"/>
                <a:gd name="connsiteX132" fmla="*/ 325000 h 606722"/>
                <a:gd name="connsiteY132" fmla="*/ 325000 h 606722"/>
                <a:gd name="connsiteX133" fmla="*/ 325000 h 606722"/>
                <a:gd name="connsiteY133" fmla="*/ 325000 h 606722"/>
                <a:gd name="connsiteX134" fmla="*/ 325000 h 606722"/>
                <a:gd name="connsiteY134" fmla="*/ 325000 h 606722"/>
                <a:gd name="connsiteX135" fmla="*/ 325000 h 606722"/>
                <a:gd name="connsiteY135" fmla="*/ 325000 h 606722"/>
                <a:gd name="connsiteX136" fmla="*/ 325000 h 606722"/>
                <a:gd name="connsiteY136" fmla="*/ 32500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607639" h="606722">
                  <a:moveTo>
                    <a:pt x="486081" y="475259"/>
                  </a:moveTo>
                  <a:cubicBezTo>
                    <a:pt x="497298" y="475259"/>
                    <a:pt x="506378" y="484329"/>
                    <a:pt x="506378" y="495443"/>
                  </a:cubicBezTo>
                  <a:cubicBezTo>
                    <a:pt x="506378" y="502912"/>
                    <a:pt x="502283" y="509403"/>
                    <a:pt x="496230" y="512871"/>
                  </a:cubicBezTo>
                  <a:lnTo>
                    <a:pt x="496230" y="535900"/>
                  </a:lnTo>
                  <a:cubicBezTo>
                    <a:pt x="496230" y="541502"/>
                    <a:pt x="491690" y="546036"/>
                    <a:pt x="486081" y="546036"/>
                  </a:cubicBezTo>
                  <a:cubicBezTo>
                    <a:pt x="480562" y="546036"/>
                    <a:pt x="476022" y="541502"/>
                    <a:pt x="476022" y="535900"/>
                  </a:cubicBezTo>
                  <a:lnTo>
                    <a:pt x="476022" y="512871"/>
                  </a:lnTo>
                  <a:cubicBezTo>
                    <a:pt x="469968" y="509403"/>
                    <a:pt x="465873" y="502912"/>
                    <a:pt x="465873" y="495443"/>
                  </a:cubicBezTo>
                  <a:cubicBezTo>
                    <a:pt x="465873" y="484329"/>
                    <a:pt x="474953" y="475259"/>
                    <a:pt x="486081" y="475259"/>
                  </a:cubicBezTo>
                  <a:close/>
                  <a:moveTo>
                    <a:pt x="415190" y="424698"/>
                  </a:moveTo>
                  <a:cubicBezTo>
                    <a:pt x="398455" y="424698"/>
                    <a:pt x="384836" y="438297"/>
                    <a:pt x="384836" y="455006"/>
                  </a:cubicBezTo>
                  <a:lnTo>
                    <a:pt x="384836" y="556150"/>
                  </a:lnTo>
                  <a:cubicBezTo>
                    <a:pt x="384836" y="572859"/>
                    <a:pt x="398455" y="586458"/>
                    <a:pt x="415190" y="586458"/>
                  </a:cubicBezTo>
                  <a:lnTo>
                    <a:pt x="556990" y="586458"/>
                  </a:lnTo>
                  <a:cubicBezTo>
                    <a:pt x="573725" y="586458"/>
                    <a:pt x="587344" y="572859"/>
                    <a:pt x="587344" y="556150"/>
                  </a:cubicBezTo>
                  <a:lnTo>
                    <a:pt x="587344" y="455006"/>
                  </a:lnTo>
                  <a:cubicBezTo>
                    <a:pt x="587344" y="438297"/>
                    <a:pt x="573725" y="424698"/>
                    <a:pt x="556990" y="424698"/>
                  </a:cubicBezTo>
                  <a:close/>
                  <a:moveTo>
                    <a:pt x="111409" y="404481"/>
                  </a:moveTo>
                  <a:lnTo>
                    <a:pt x="293724" y="404481"/>
                  </a:lnTo>
                  <a:cubicBezTo>
                    <a:pt x="299244" y="404481"/>
                    <a:pt x="303784" y="409011"/>
                    <a:pt x="303784" y="414607"/>
                  </a:cubicBezTo>
                  <a:cubicBezTo>
                    <a:pt x="303784" y="420203"/>
                    <a:pt x="299244" y="424733"/>
                    <a:pt x="293724" y="424733"/>
                  </a:cubicBezTo>
                  <a:lnTo>
                    <a:pt x="111409" y="424733"/>
                  </a:lnTo>
                  <a:cubicBezTo>
                    <a:pt x="105801" y="424733"/>
                    <a:pt x="101261" y="420203"/>
                    <a:pt x="101261" y="414607"/>
                  </a:cubicBezTo>
                  <a:cubicBezTo>
                    <a:pt x="101261" y="409011"/>
                    <a:pt x="105801" y="404481"/>
                    <a:pt x="111409" y="404481"/>
                  </a:cubicBezTo>
                  <a:close/>
                  <a:moveTo>
                    <a:pt x="10146" y="323613"/>
                  </a:moveTo>
                  <a:lnTo>
                    <a:pt x="394900" y="323613"/>
                  </a:lnTo>
                  <a:cubicBezTo>
                    <a:pt x="400507" y="323613"/>
                    <a:pt x="405046" y="328145"/>
                    <a:pt x="405046" y="333743"/>
                  </a:cubicBezTo>
                  <a:cubicBezTo>
                    <a:pt x="405046" y="339252"/>
                    <a:pt x="400507" y="343784"/>
                    <a:pt x="394900" y="343784"/>
                  </a:cubicBezTo>
                  <a:lnTo>
                    <a:pt x="20292" y="343784"/>
                  </a:lnTo>
                  <a:lnTo>
                    <a:pt x="20292" y="455039"/>
                  </a:lnTo>
                  <a:cubicBezTo>
                    <a:pt x="20292" y="469790"/>
                    <a:pt x="35867" y="485341"/>
                    <a:pt x="50642" y="485341"/>
                  </a:cubicBezTo>
                  <a:lnTo>
                    <a:pt x="334201" y="485341"/>
                  </a:lnTo>
                  <a:cubicBezTo>
                    <a:pt x="339719" y="485341"/>
                    <a:pt x="344258" y="489873"/>
                    <a:pt x="344258" y="495471"/>
                  </a:cubicBezTo>
                  <a:cubicBezTo>
                    <a:pt x="344258" y="501069"/>
                    <a:pt x="339719" y="505601"/>
                    <a:pt x="334201" y="505601"/>
                  </a:cubicBezTo>
                  <a:lnTo>
                    <a:pt x="50642" y="505601"/>
                  </a:lnTo>
                  <a:cubicBezTo>
                    <a:pt x="24564" y="505601"/>
                    <a:pt x="0" y="480987"/>
                    <a:pt x="0" y="455039"/>
                  </a:cubicBezTo>
                  <a:lnTo>
                    <a:pt x="0" y="333743"/>
                  </a:lnTo>
                  <a:cubicBezTo>
                    <a:pt x="0" y="328145"/>
                    <a:pt x="4539" y="323613"/>
                    <a:pt x="10146" y="323613"/>
                  </a:cubicBezTo>
                  <a:close/>
                  <a:moveTo>
                    <a:pt x="486046" y="323554"/>
                  </a:moveTo>
                  <a:cubicBezTo>
                    <a:pt x="463703" y="323554"/>
                    <a:pt x="445544" y="341685"/>
                    <a:pt x="445544" y="363994"/>
                  </a:cubicBezTo>
                  <a:lnTo>
                    <a:pt x="445544" y="404434"/>
                  </a:lnTo>
                  <a:lnTo>
                    <a:pt x="526547" y="404434"/>
                  </a:lnTo>
                  <a:lnTo>
                    <a:pt x="526547" y="363994"/>
                  </a:lnTo>
                  <a:cubicBezTo>
                    <a:pt x="526547" y="341685"/>
                    <a:pt x="508388" y="323554"/>
                    <a:pt x="486046" y="323554"/>
                  </a:cubicBezTo>
                  <a:close/>
                  <a:moveTo>
                    <a:pt x="486046" y="303290"/>
                  </a:moveTo>
                  <a:cubicBezTo>
                    <a:pt x="519604" y="303290"/>
                    <a:pt x="546842" y="330576"/>
                    <a:pt x="546842" y="363994"/>
                  </a:cubicBezTo>
                  <a:lnTo>
                    <a:pt x="546842" y="404434"/>
                  </a:lnTo>
                  <a:lnTo>
                    <a:pt x="556990" y="404434"/>
                  </a:lnTo>
                  <a:cubicBezTo>
                    <a:pt x="584852" y="404434"/>
                    <a:pt x="607639" y="427098"/>
                    <a:pt x="607639" y="455006"/>
                  </a:cubicBezTo>
                  <a:lnTo>
                    <a:pt x="607639" y="556150"/>
                  </a:lnTo>
                  <a:cubicBezTo>
                    <a:pt x="607639" y="583969"/>
                    <a:pt x="584852" y="606722"/>
                    <a:pt x="556990" y="606722"/>
                  </a:cubicBezTo>
                  <a:lnTo>
                    <a:pt x="415190" y="606722"/>
                  </a:lnTo>
                  <a:cubicBezTo>
                    <a:pt x="387239" y="606722"/>
                    <a:pt x="364541" y="583969"/>
                    <a:pt x="364541" y="556150"/>
                  </a:cubicBezTo>
                  <a:lnTo>
                    <a:pt x="364541" y="455006"/>
                  </a:lnTo>
                  <a:cubicBezTo>
                    <a:pt x="364541" y="427098"/>
                    <a:pt x="387239" y="404434"/>
                    <a:pt x="415190" y="404434"/>
                  </a:cubicBezTo>
                  <a:lnTo>
                    <a:pt x="425338" y="404434"/>
                  </a:lnTo>
                  <a:lnTo>
                    <a:pt x="425338" y="363994"/>
                  </a:lnTo>
                  <a:cubicBezTo>
                    <a:pt x="425338" y="330576"/>
                    <a:pt x="452576" y="303290"/>
                    <a:pt x="486046" y="303290"/>
                  </a:cubicBezTo>
                  <a:close/>
                  <a:moveTo>
                    <a:pt x="111409" y="242745"/>
                  </a:moveTo>
                  <a:lnTo>
                    <a:pt x="293724" y="242745"/>
                  </a:lnTo>
                  <a:cubicBezTo>
                    <a:pt x="299244" y="242745"/>
                    <a:pt x="303784" y="247263"/>
                    <a:pt x="303784" y="252756"/>
                  </a:cubicBezTo>
                  <a:cubicBezTo>
                    <a:pt x="303784" y="258337"/>
                    <a:pt x="299244" y="262856"/>
                    <a:pt x="293724" y="262856"/>
                  </a:cubicBezTo>
                  <a:lnTo>
                    <a:pt x="111409" y="262856"/>
                  </a:lnTo>
                  <a:cubicBezTo>
                    <a:pt x="105801" y="262856"/>
                    <a:pt x="101261" y="258337"/>
                    <a:pt x="101261" y="252756"/>
                  </a:cubicBezTo>
                  <a:cubicBezTo>
                    <a:pt x="101261" y="247263"/>
                    <a:pt x="105801" y="242745"/>
                    <a:pt x="111409" y="242745"/>
                  </a:cubicBezTo>
                  <a:close/>
                  <a:moveTo>
                    <a:pt x="476008" y="242704"/>
                  </a:moveTo>
                  <a:cubicBezTo>
                    <a:pt x="470398" y="242704"/>
                    <a:pt x="465855" y="247240"/>
                    <a:pt x="465855" y="252756"/>
                  </a:cubicBezTo>
                  <a:cubicBezTo>
                    <a:pt x="465855" y="258360"/>
                    <a:pt x="470398" y="262897"/>
                    <a:pt x="476008" y="262897"/>
                  </a:cubicBezTo>
                  <a:cubicBezTo>
                    <a:pt x="481530" y="262897"/>
                    <a:pt x="486072" y="258360"/>
                    <a:pt x="486072" y="252756"/>
                  </a:cubicBezTo>
                  <a:cubicBezTo>
                    <a:pt x="486072" y="247240"/>
                    <a:pt x="481530" y="242704"/>
                    <a:pt x="476008" y="242704"/>
                  </a:cubicBezTo>
                  <a:close/>
                  <a:moveTo>
                    <a:pt x="394910" y="242704"/>
                  </a:moveTo>
                  <a:cubicBezTo>
                    <a:pt x="389388" y="242704"/>
                    <a:pt x="384846" y="247240"/>
                    <a:pt x="384846" y="252756"/>
                  </a:cubicBezTo>
                  <a:cubicBezTo>
                    <a:pt x="384846" y="258360"/>
                    <a:pt x="389388" y="262897"/>
                    <a:pt x="394910" y="262897"/>
                  </a:cubicBezTo>
                  <a:cubicBezTo>
                    <a:pt x="400520" y="262897"/>
                    <a:pt x="405062" y="258360"/>
                    <a:pt x="405062" y="252756"/>
                  </a:cubicBezTo>
                  <a:cubicBezTo>
                    <a:pt x="405062" y="247240"/>
                    <a:pt x="400520" y="242704"/>
                    <a:pt x="394910" y="242704"/>
                  </a:cubicBezTo>
                  <a:close/>
                  <a:moveTo>
                    <a:pt x="476008" y="222422"/>
                  </a:moveTo>
                  <a:cubicBezTo>
                    <a:pt x="492751" y="222422"/>
                    <a:pt x="506377" y="236032"/>
                    <a:pt x="506377" y="252756"/>
                  </a:cubicBezTo>
                  <a:cubicBezTo>
                    <a:pt x="506377" y="269568"/>
                    <a:pt x="492751" y="283179"/>
                    <a:pt x="476008" y="283179"/>
                  </a:cubicBezTo>
                  <a:cubicBezTo>
                    <a:pt x="459176" y="283179"/>
                    <a:pt x="445550" y="269568"/>
                    <a:pt x="445550" y="252756"/>
                  </a:cubicBezTo>
                  <a:cubicBezTo>
                    <a:pt x="445550" y="236032"/>
                    <a:pt x="459176" y="222422"/>
                    <a:pt x="476008" y="222422"/>
                  </a:cubicBezTo>
                  <a:close/>
                  <a:moveTo>
                    <a:pt x="394910" y="222422"/>
                  </a:moveTo>
                  <a:cubicBezTo>
                    <a:pt x="411742" y="222422"/>
                    <a:pt x="425368" y="236032"/>
                    <a:pt x="425368" y="252756"/>
                  </a:cubicBezTo>
                  <a:cubicBezTo>
                    <a:pt x="425368" y="269568"/>
                    <a:pt x="411742" y="283179"/>
                    <a:pt x="394910" y="283179"/>
                  </a:cubicBezTo>
                  <a:cubicBezTo>
                    <a:pt x="378167" y="283179"/>
                    <a:pt x="364541" y="269568"/>
                    <a:pt x="364541" y="252756"/>
                  </a:cubicBezTo>
                  <a:cubicBezTo>
                    <a:pt x="364541" y="236032"/>
                    <a:pt x="378167" y="222422"/>
                    <a:pt x="394910" y="222422"/>
                  </a:cubicBezTo>
                  <a:close/>
                  <a:moveTo>
                    <a:pt x="10146" y="161736"/>
                  </a:moveTo>
                  <a:lnTo>
                    <a:pt x="556988" y="161736"/>
                  </a:lnTo>
                  <a:cubicBezTo>
                    <a:pt x="562595" y="161736"/>
                    <a:pt x="567134" y="166268"/>
                    <a:pt x="567134" y="171866"/>
                  </a:cubicBezTo>
                  <a:cubicBezTo>
                    <a:pt x="567134" y="177464"/>
                    <a:pt x="562595" y="181996"/>
                    <a:pt x="556988" y="181996"/>
                  </a:cubicBezTo>
                  <a:lnTo>
                    <a:pt x="20293" y="181996"/>
                  </a:lnTo>
                  <a:lnTo>
                    <a:pt x="20293" y="293249"/>
                  </a:lnTo>
                  <a:cubicBezTo>
                    <a:pt x="20293" y="298758"/>
                    <a:pt x="15753" y="303290"/>
                    <a:pt x="10146" y="303290"/>
                  </a:cubicBezTo>
                  <a:cubicBezTo>
                    <a:pt x="4539" y="303290"/>
                    <a:pt x="0" y="298758"/>
                    <a:pt x="0" y="293249"/>
                  </a:cubicBezTo>
                  <a:lnTo>
                    <a:pt x="0" y="171866"/>
                  </a:lnTo>
                  <a:cubicBezTo>
                    <a:pt x="0" y="166268"/>
                    <a:pt x="4539" y="161736"/>
                    <a:pt x="10146" y="161736"/>
                  </a:cubicBezTo>
                  <a:close/>
                  <a:moveTo>
                    <a:pt x="111409" y="80868"/>
                  </a:moveTo>
                  <a:lnTo>
                    <a:pt x="293724" y="80868"/>
                  </a:lnTo>
                  <a:cubicBezTo>
                    <a:pt x="299244" y="80868"/>
                    <a:pt x="303784" y="85398"/>
                    <a:pt x="303784" y="90994"/>
                  </a:cubicBezTo>
                  <a:cubicBezTo>
                    <a:pt x="303784" y="96590"/>
                    <a:pt x="299244" y="101120"/>
                    <a:pt x="293724" y="101120"/>
                  </a:cubicBezTo>
                  <a:lnTo>
                    <a:pt x="111409" y="101120"/>
                  </a:lnTo>
                  <a:cubicBezTo>
                    <a:pt x="105801" y="101120"/>
                    <a:pt x="101261" y="96590"/>
                    <a:pt x="101261" y="90994"/>
                  </a:cubicBezTo>
                  <a:cubicBezTo>
                    <a:pt x="101261" y="85398"/>
                    <a:pt x="105801" y="80868"/>
                    <a:pt x="111409" y="80868"/>
                  </a:cubicBezTo>
                  <a:close/>
                  <a:moveTo>
                    <a:pt x="476008" y="80861"/>
                  </a:moveTo>
                  <a:cubicBezTo>
                    <a:pt x="470398" y="80861"/>
                    <a:pt x="465855" y="85394"/>
                    <a:pt x="465855" y="90994"/>
                  </a:cubicBezTo>
                  <a:cubicBezTo>
                    <a:pt x="465855" y="96593"/>
                    <a:pt x="470398" y="101126"/>
                    <a:pt x="476008" y="101126"/>
                  </a:cubicBezTo>
                  <a:cubicBezTo>
                    <a:pt x="481530" y="101126"/>
                    <a:pt x="486072" y="96593"/>
                    <a:pt x="486072" y="90994"/>
                  </a:cubicBezTo>
                  <a:cubicBezTo>
                    <a:pt x="486072" y="85394"/>
                    <a:pt x="481530" y="80861"/>
                    <a:pt x="476008" y="80861"/>
                  </a:cubicBezTo>
                  <a:close/>
                  <a:moveTo>
                    <a:pt x="394910" y="80861"/>
                  </a:moveTo>
                  <a:cubicBezTo>
                    <a:pt x="389388" y="80861"/>
                    <a:pt x="384846" y="85394"/>
                    <a:pt x="384846" y="90994"/>
                  </a:cubicBezTo>
                  <a:cubicBezTo>
                    <a:pt x="384846" y="96593"/>
                    <a:pt x="389388" y="101126"/>
                    <a:pt x="394910" y="101126"/>
                  </a:cubicBezTo>
                  <a:cubicBezTo>
                    <a:pt x="400520" y="101126"/>
                    <a:pt x="405062" y="96593"/>
                    <a:pt x="405062" y="90994"/>
                  </a:cubicBezTo>
                  <a:cubicBezTo>
                    <a:pt x="405062" y="85394"/>
                    <a:pt x="400520" y="80861"/>
                    <a:pt x="394910" y="80861"/>
                  </a:cubicBezTo>
                  <a:close/>
                  <a:moveTo>
                    <a:pt x="476008" y="60686"/>
                  </a:moveTo>
                  <a:cubicBezTo>
                    <a:pt x="492751" y="60686"/>
                    <a:pt x="506377" y="74284"/>
                    <a:pt x="506377" y="90994"/>
                  </a:cubicBezTo>
                  <a:cubicBezTo>
                    <a:pt x="506377" y="107703"/>
                    <a:pt x="492751" y="121302"/>
                    <a:pt x="476008" y="121302"/>
                  </a:cubicBezTo>
                  <a:cubicBezTo>
                    <a:pt x="459176" y="121302"/>
                    <a:pt x="445550" y="107703"/>
                    <a:pt x="445550" y="90994"/>
                  </a:cubicBezTo>
                  <a:cubicBezTo>
                    <a:pt x="445550" y="74284"/>
                    <a:pt x="459176" y="60686"/>
                    <a:pt x="476008" y="60686"/>
                  </a:cubicBezTo>
                  <a:close/>
                  <a:moveTo>
                    <a:pt x="394910" y="60686"/>
                  </a:moveTo>
                  <a:cubicBezTo>
                    <a:pt x="411742" y="60686"/>
                    <a:pt x="425368" y="74284"/>
                    <a:pt x="425368" y="90994"/>
                  </a:cubicBezTo>
                  <a:cubicBezTo>
                    <a:pt x="425368" y="107703"/>
                    <a:pt x="411742" y="121302"/>
                    <a:pt x="394910" y="121302"/>
                  </a:cubicBezTo>
                  <a:cubicBezTo>
                    <a:pt x="378167" y="121302"/>
                    <a:pt x="364541" y="107703"/>
                    <a:pt x="364541" y="90994"/>
                  </a:cubicBezTo>
                  <a:cubicBezTo>
                    <a:pt x="364541" y="74284"/>
                    <a:pt x="378167" y="60686"/>
                    <a:pt x="394910" y="60686"/>
                  </a:cubicBezTo>
                  <a:close/>
                  <a:moveTo>
                    <a:pt x="50644" y="0"/>
                  </a:moveTo>
                  <a:lnTo>
                    <a:pt x="556995" y="0"/>
                  </a:lnTo>
                  <a:cubicBezTo>
                    <a:pt x="582985" y="0"/>
                    <a:pt x="607639" y="24528"/>
                    <a:pt x="607639" y="50567"/>
                  </a:cubicBezTo>
                  <a:lnTo>
                    <a:pt x="607639" y="384277"/>
                  </a:lnTo>
                  <a:cubicBezTo>
                    <a:pt x="607639" y="389787"/>
                    <a:pt x="603100" y="394320"/>
                    <a:pt x="597493" y="394320"/>
                  </a:cubicBezTo>
                  <a:cubicBezTo>
                    <a:pt x="591885" y="394320"/>
                    <a:pt x="587346" y="389787"/>
                    <a:pt x="587346" y="384277"/>
                  </a:cubicBezTo>
                  <a:lnTo>
                    <a:pt x="587346" y="50567"/>
                  </a:lnTo>
                  <a:cubicBezTo>
                    <a:pt x="587346" y="35815"/>
                    <a:pt x="571770" y="20262"/>
                    <a:pt x="556995" y="20262"/>
                  </a:cubicBezTo>
                  <a:lnTo>
                    <a:pt x="50644" y="20262"/>
                  </a:lnTo>
                  <a:cubicBezTo>
                    <a:pt x="35869" y="20262"/>
                    <a:pt x="20293" y="35815"/>
                    <a:pt x="20293" y="50567"/>
                  </a:cubicBezTo>
                  <a:lnTo>
                    <a:pt x="20293" y="131440"/>
                  </a:lnTo>
                  <a:cubicBezTo>
                    <a:pt x="20293" y="137039"/>
                    <a:pt x="15754" y="141571"/>
                    <a:pt x="10146" y="141571"/>
                  </a:cubicBezTo>
                  <a:cubicBezTo>
                    <a:pt x="4539" y="141571"/>
                    <a:pt x="0" y="137039"/>
                    <a:pt x="0" y="131440"/>
                  </a:cubicBezTo>
                  <a:lnTo>
                    <a:pt x="0" y="50567"/>
                  </a:lnTo>
                  <a:cubicBezTo>
                    <a:pt x="0" y="24528"/>
                    <a:pt x="24565" y="0"/>
                    <a:pt x="50644" y="0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32" name="classroom-pc_73575"/>
            <p:cNvSpPr>
              <a:spLocks noChangeAspect="1"/>
            </p:cNvSpPr>
            <p:nvPr/>
          </p:nvSpPr>
          <p:spPr bwMode="auto">
            <a:xfrm>
              <a:off x="5984578" y="1414676"/>
              <a:ext cx="617440" cy="520570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rgbClr val="F25822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33" name="直接箭头连接符 32"/>
            <p:cNvCxnSpPr/>
            <p:nvPr/>
          </p:nvCxnSpPr>
          <p:spPr>
            <a:xfrm>
              <a:off x="5542187" y="1273490"/>
              <a:ext cx="348475" cy="21654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/>
            <p:nvPr/>
          </p:nvCxnSpPr>
          <p:spPr>
            <a:xfrm>
              <a:off x="5504173" y="1680329"/>
              <a:ext cx="376864" cy="0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>
            <a:xfrm flipV="1">
              <a:off x="5542187" y="1896748"/>
              <a:ext cx="348475" cy="227311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man-working-on-a-laptop-from-side-view_49728"/>
            <p:cNvSpPr>
              <a:spLocks noChangeAspect="1"/>
            </p:cNvSpPr>
            <p:nvPr/>
          </p:nvSpPr>
          <p:spPr bwMode="auto">
            <a:xfrm>
              <a:off x="7288105" y="1014065"/>
              <a:ext cx="421481" cy="377847"/>
            </a:xfrm>
            <a:custGeom>
              <a:avLst/>
              <a:gdLst>
                <a:gd name="connsiteX0" fmla="*/ 199013 w 609377"/>
                <a:gd name="connsiteY0" fmla="*/ 435742 h 492194"/>
                <a:gd name="connsiteX1" fmla="*/ 414600 w 609377"/>
                <a:gd name="connsiteY1" fmla="*/ 435742 h 492194"/>
                <a:gd name="connsiteX2" fmla="*/ 518491 w 609377"/>
                <a:gd name="connsiteY2" fmla="*/ 435742 h 492194"/>
                <a:gd name="connsiteX3" fmla="*/ 572285 w 609377"/>
                <a:gd name="connsiteY3" fmla="*/ 435742 h 492194"/>
                <a:gd name="connsiteX4" fmla="*/ 572285 w 609377"/>
                <a:gd name="connsiteY4" fmla="*/ 478222 h 492194"/>
                <a:gd name="connsiteX5" fmla="*/ 518491 w 609377"/>
                <a:gd name="connsiteY5" fmla="*/ 478222 h 492194"/>
                <a:gd name="connsiteX6" fmla="*/ 414600 w 609377"/>
                <a:gd name="connsiteY6" fmla="*/ 478222 h 492194"/>
                <a:gd name="connsiteX7" fmla="*/ 199013 w 609377"/>
                <a:gd name="connsiteY7" fmla="*/ 478222 h 492194"/>
                <a:gd name="connsiteX8" fmla="*/ 182764 w 609377"/>
                <a:gd name="connsiteY8" fmla="*/ 461956 h 492194"/>
                <a:gd name="connsiteX9" fmla="*/ 182764 w 609377"/>
                <a:gd name="connsiteY9" fmla="*/ 452008 h 492194"/>
                <a:gd name="connsiteX10" fmla="*/ 199013 w 609377"/>
                <a:gd name="connsiteY10" fmla="*/ 435742 h 492194"/>
                <a:gd name="connsiteX11" fmla="*/ 598532 w 609377"/>
                <a:gd name="connsiteY11" fmla="*/ 183306 h 492194"/>
                <a:gd name="connsiteX12" fmla="*/ 608505 w 609377"/>
                <a:gd name="connsiteY12" fmla="*/ 203745 h 492194"/>
                <a:gd name="connsiteX13" fmla="*/ 536759 w 609377"/>
                <a:gd name="connsiteY13" fmla="*/ 412878 h 492194"/>
                <a:gd name="connsiteX14" fmla="*/ 534354 w 609377"/>
                <a:gd name="connsiteY14" fmla="*/ 417329 h 492194"/>
                <a:gd name="connsiteX15" fmla="*/ 521155 w 609377"/>
                <a:gd name="connsiteY15" fmla="*/ 424240 h 492194"/>
                <a:gd name="connsiteX16" fmla="*/ 265794 w 609377"/>
                <a:gd name="connsiteY16" fmla="*/ 424240 h 492194"/>
                <a:gd name="connsiteX17" fmla="*/ 249661 w 609377"/>
                <a:gd name="connsiteY17" fmla="*/ 408193 h 492194"/>
                <a:gd name="connsiteX18" fmla="*/ 265794 w 609377"/>
                <a:gd name="connsiteY18" fmla="*/ 392147 h 492194"/>
                <a:gd name="connsiteX19" fmla="*/ 509892 w 609377"/>
                <a:gd name="connsiteY19" fmla="*/ 392147 h 492194"/>
                <a:gd name="connsiteX20" fmla="*/ 578058 w 609377"/>
                <a:gd name="connsiteY20" fmla="*/ 193320 h 492194"/>
                <a:gd name="connsiteX21" fmla="*/ 598532 w 609377"/>
                <a:gd name="connsiteY21" fmla="*/ 183306 h 492194"/>
                <a:gd name="connsiteX22" fmla="*/ 81768 w 609377"/>
                <a:gd name="connsiteY22" fmla="*/ 179942 h 492194"/>
                <a:gd name="connsiteX23" fmla="*/ 81885 w 609377"/>
                <a:gd name="connsiteY23" fmla="*/ 180118 h 492194"/>
                <a:gd name="connsiteX24" fmla="*/ 86754 w 609377"/>
                <a:gd name="connsiteY24" fmla="*/ 179942 h 492194"/>
                <a:gd name="connsiteX25" fmla="*/ 173449 w 609377"/>
                <a:gd name="connsiteY25" fmla="*/ 266555 h 492194"/>
                <a:gd name="connsiteX26" fmla="*/ 173625 w 609377"/>
                <a:gd name="connsiteY26" fmla="*/ 286583 h 492194"/>
                <a:gd name="connsiteX27" fmla="*/ 173625 w 609377"/>
                <a:gd name="connsiteY27" fmla="*/ 310476 h 492194"/>
                <a:gd name="connsiteX28" fmla="*/ 178552 w 609377"/>
                <a:gd name="connsiteY28" fmla="*/ 310476 h 492194"/>
                <a:gd name="connsiteX29" fmla="*/ 384966 w 609377"/>
                <a:gd name="connsiteY29" fmla="*/ 310594 h 492194"/>
                <a:gd name="connsiteX30" fmla="*/ 420923 w 609377"/>
                <a:gd name="connsiteY30" fmla="*/ 346492 h 492194"/>
                <a:gd name="connsiteX31" fmla="*/ 384966 w 609377"/>
                <a:gd name="connsiteY31" fmla="*/ 382390 h 492194"/>
                <a:gd name="connsiteX32" fmla="*/ 179549 w 609377"/>
                <a:gd name="connsiteY32" fmla="*/ 382390 h 492194"/>
                <a:gd name="connsiteX33" fmla="*/ 171278 w 609377"/>
                <a:gd name="connsiteY33" fmla="*/ 382273 h 492194"/>
                <a:gd name="connsiteX34" fmla="*/ 148989 w 609377"/>
                <a:gd name="connsiteY34" fmla="*/ 372084 h 492194"/>
                <a:gd name="connsiteX35" fmla="*/ 78483 w 609377"/>
                <a:gd name="connsiteY35" fmla="*/ 295250 h 492194"/>
                <a:gd name="connsiteX36" fmla="*/ 69978 w 609377"/>
                <a:gd name="connsiteY36" fmla="*/ 294899 h 492194"/>
                <a:gd name="connsiteX37" fmla="*/ 69626 w 609377"/>
                <a:gd name="connsiteY37" fmla="*/ 303390 h 492194"/>
                <a:gd name="connsiteX38" fmla="*/ 140073 w 609377"/>
                <a:gd name="connsiteY38" fmla="*/ 380165 h 492194"/>
                <a:gd name="connsiteX39" fmla="*/ 171044 w 609377"/>
                <a:gd name="connsiteY39" fmla="*/ 393751 h 492194"/>
                <a:gd name="connsiteX40" fmla="*/ 171337 w 609377"/>
                <a:gd name="connsiteY40" fmla="*/ 393751 h 492194"/>
                <a:gd name="connsiteX41" fmla="*/ 173625 w 609377"/>
                <a:gd name="connsiteY41" fmla="*/ 393927 h 492194"/>
                <a:gd name="connsiteX42" fmla="*/ 173625 w 609377"/>
                <a:gd name="connsiteY42" fmla="*/ 492194 h 492194"/>
                <a:gd name="connsiteX43" fmla="*/ 0 w 609377"/>
                <a:gd name="connsiteY43" fmla="*/ 492194 h 492194"/>
                <a:gd name="connsiteX44" fmla="*/ 0 w 609377"/>
                <a:gd name="connsiteY44" fmla="*/ 261577 h 492194"/>
                <a:gd name="connsiteX45" fmla="*/ 81768 w 609377"/>
                <a:gd name="connsiteY45" fmla="*/ 179942 h 492194"/>
                <a:gd name="connsiteX46" fmla="*/ 165194 w 609377"/>
                <a:gd name="connsiteY46" fmla="*/ 0 h 492194"/>
                <a:gd name="connsiteX47" fmla="*/ 255306 w 609377"/>
                <a:gd name="connsiteY47" fmla="*/ 89971 h 492194"/>
                <a:gd name="connsiteX48" fmla="*/ 165194 w 609377"/>
                <a:gd name="connsiteY48" fmla="*/ 179942 h 492194"/>
                <a:gd name="connsiteX49" fmla="*/ 75082 w 609377"/>
                <a:gd name="connsiteY49" fmla="*/ 89971 h 492194"/>
                <a:gd name="connsiteX50" fmla="*/ 165194 w 609377"/>
                <a:gd name="connsiteY50" fmla="*/ 0 h 49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9377" h="492194">
                  <a:moveTo>
                    <a:pt x="199013" y="435742"/>
                  </a:moveTo>
                  <a:lnTo>
                    <a:pt x="414600" y="435742"/>
                  </a:lnTo>
                  <a:lnTo>
                    <a:pt x="518491" y="435742"/>
                  </a:lnTo>
                  <a:lnTo>
                    <a:pt x="572285" y="435742"/>
                  </a:lnTo>
                  <a:lnTo>
                    <a:pt x="572285" y="478222"/>
                  </a:lnTo>
                  <a:lnTo>
                    <a:pt x="518491" y="478222"/>
                  </a:lnTo>
                  <a:lnTo>
                    <a:pt x="414600" y="478222"/>
                  </a:lnTo>
                  <a:lnTo>
                    <a:pt x="199013" y="478222"/>
                  </a:lnTo>
                  <a:cubicBezTo>
                    <a:pt x="190038" y="478222"/>
                    <a:pt x="182764" y="470966"/>
                    <a:pt x="182764" y="461956"/>
                  </a:cubicBezTo>
                  <a:lnTo>
                    <a:pt x="182764" y="452008"/>
                  </a:lnTo>
                  <a:cubicBezTo>
                    <a:pt x="182764" y="443056"/>
                    <a:pt x="190038" y="435742"/>
                    <a:pt x="199013" y="435742"/>
                  </a:cubicBezTo>
                  <a:close/>
                  <a:moveTo>
                    <a:pt x="598532" y="183306"/>
                  </a:moveTo>
                  <a:cubicBezTo>
                    <a:pt x="606921" y="186234"/>
                    <a:pt x="611379" y="195311"/>
                    <a:pt x="608505" y="203745"/>
                  </a:cubicBezTo>
                  <a:lnTo>
                    <a:pt x="536759" y="412878"/>
                  </a:lnTo>
                  <a:cubicBezTo>
                    <a:pt x="536173" y="414518"/>
                    <a:pt x="535352" y="416041"/>
                    <a:pt x="534354" y="417329"/>
                  </a:cubicBezTo>
                  <a:cubicBezTo>
                    <a:pt x="531480" y="421487"/>
                    <a:pt x="526611" y="424240"/>
                    <a:pt x="521155" y="424240"/>
                  </a:cubicBezTo>
                  <a:lnTo>
                    <a:pt x="265794" y="424240"/>
                  </a:lnTo>
                  <a:cubicBezTo>
                    <a:pt x="256877" y="424240"/>
                    <a:pt x="249661" y="417037"/>
                    <a:pt x="249661" y="408193"/>
                  </a:cubicBezTo>
                  <a:cubicBezTo>
                    <a:pt x="249661" y="399292"/>
                    <a:pt x="256877" y="392147"/>
                    <a:pt x="265794" y="392147"/>
                  </a:cubicBezTo>
                  <a:lnTo>
                    <a:pt x="509892" y="392147"/>
                  </a:lnTo>
                  <a:lnTo>
                    <a:pt x="578058" y="193320"/>
                  </a:lnTo>
                  <a:cubicBezTo>
                    <a:pt x="580933" y="184945"/>
                    <a:pt x="590084" y="180436"/>
                    <a:pt x="598532" y="183306"/>
                  </a:cubicBezTo>
                  <a:close/>
                  <a:moveTo>
                    <a:pt x="81768" y="179942"/>
                  </a:moveTo>
                  <a:lnTo>
                    <a:pt x="81885" y="180118"/>
                  </a:lnTo>
                  <a:cubicBezTo>
                    <a:pt x="83527" y="180001"/>
                    <a:pt x="85111" y="179942"/>
                    <a:pt x="86754" y="179942"/>
                  </a:cubicBezTo>
                  <a:cubicBezTo>
                    <a:pt x="134618" y="179942"/>
                    <a:pt x="173449" y="218710"/>
                    <a:pt x="173449" y="266555"/>
                  </a:cubicBezTo>
                  <a:lnTo>
                    <a:pt x="173625" y="286583"/>
                  </a:lnTo>
                  <a:lnTo>
                    <a:pt x="173625" y="310476"/>
                  </a:lnTo>
                  <a:lnTo>
                    <a:pt x="178552" y="310476"/>
                  </a:lnTo>
                  <a:lnTo>
                    <a:pt x="384966" y="310594"/>
                  </a:lnTo>
                  <a:cubicBezTo>
                    <a:pt x="404793" y="310594"/>
                    <a:pt x="420923" y="326698"/>
                    <a:pt x="420923" y="346492"/>
                  </a:cubicBezTo>
                  <a:cubicBezTo>
                    <a:pt x="420923" y="366286"/>
                    <a:pt x="404793" y="382390"/>
                    <a:pt x="384966" y="382390"/>
                  </a:cubicBezTo>
                  <a:lnTo>
                    <a:pt x="179549" y="382390"/>
                  </a:lnTo>
                  <a:cubicBezTo>
                    <a:pt x="179549" y="382390"/>
                    <a:pt x="171865" y="382273"/>
                    <a:pt x="171278" y="382273"/>
                  </a:cubicBezTo>
                  <a:cubicBezTo>
                    <a:pt x="162773" y="382098"/>
                    <a:pt x="154678" y="378291"/>
                    <a:pt x="148989" y="372084"/>
                  </a:cubicBezTo>
                  <a:lnTo>
                    <a:pt x="78483" y="295250"/>
                  </a:lnTo>
                  <a:cubicBezTo>
                    <a:pt x="76254" y="292791"/>
                    <a:pt x="72441" y="292674"/>
                    <a:pt x="69978" y="294899"/>
                  </a:cubicBezTo>
                  <a:cubicBezTo>
                    <a:pt x="67514" y="297124"/>
                    <a:pt x="67397" y="300931"/>
                    <a:pt x="69626" y="303390"/>
                  </a:cubicBezTo>
                  <a:lnTo>
                    <a:pt x="140073" y="380165"/>
                  </a:lnTo>
                  <a:cubicBezTo>
                    <a:pt x="148050" y="388832"/>
                    <a:pt x="159312" y="393751"/>
                    <a:pt x="171044" y="393751"/>
                  </a:cubicBezTo>
                  <a:cubicBezTo>
                    <a:pt x="171161" y="393751"/>
                    <a:pt x="171161" y="393751"/>
                    <a:pt x="171337" y="393751"/>
                  </a:cubicBezTo>
                  <a:lnTo>
                    <a:pt x="173625" y="393927"/>
                  </a:lnTo>
                  <a:lnTo>
                    <a:pt x="173625" y="492194"/>
                  </a:lnTo>
                  <a:lnTo>
                    <a:pt x="0" y="492194"/>
                  </a:lnTo>
                  <a:lnTo>
                    <a:pt x="0" y="261577"/>
                  </a:lnTo>
                  <a:cubicBezTo>
                    <a:pt x="0" y="216485"/>
                    <a:pt x="36602" y="179942"/>
                    <a:pt x="81768" y="179942"/>
                  </a:cubicBezTo>
                  <a:close/>
                  <a:moveTo>
                    <a:pt x="165194" y="0"/>
                  </a:moveTo>
                  <a:cubicBezTo>
                    <a:pt x="214961" y="0"/>
                    <a:pt x="255306" y="40281"/>
                    <a:pt x="255306" y="89971"/>
                  </a:cubicBezTo>
                  <a:cubicBezTo>
                    <a:pt x="255306" y="139661"/>
                    <a:pt x="214961" y="179942"/>
                    <a:pt x="165194" y="179942"/>
                  </a:cubicBezTo>
                  <a:cubicBezTo>
                    <a:pt x="115427" y="179942"/>
                    <a:pt x="75082" y="139661"/>
                    <a:pt x="75082" y="89971"/>
                  </a:cubicBezTo>
                  <a:cubicBezTo>
                    <a:pt x="75082" y="40281"/>
                    <a:pt x="115427" y="0"/>
                    <a:pt x="165194" y="0"/>
                  </a:cubicBezTo>
                  <a:close/>
                </a:path>
              </a:pathLst>
            </a:custGeom>
            <a:solidFill>
              <a:srgbClr val="F79646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37" name="man-working-on-a-laptop-from-side-view_49728"/>
            <p:cNvSpPr>
              <a:spLocks noChangeAspect="1"/>
            </p:cNvSpPr>
            <p:nvPr/>
          </p:nvSpPr>
          <p:spPr bwMode="auto">
            <a:xfrm>
              <a:off x="7288105" y="1479116"/>
              <a:ext cx="421481" cy="377847"/>
            </a:xfrm>
            <a:custGeom>
              <a:avLst/>
              <a:gdLst>
                <a:gd name="connsiteX0" fmla="*/ 199013 w 609377"/>
                <a:gd name="connsiteY0" fmla="*/ 435742 h 492194"/>
                <a:gd name="connsiteX1" fmla="*/ 414600 w 609377"/>
                <a:gd name="connsiteY1" fmla="*/ 435742 h 492194"/>
                <a:gd name="connsiteX2" fmla="*/ 518491 w 609377"/>
                <a:gd name="connsiteY2" fmla="*/ 435742 h 492194"/>
                <a:gd name="connsiteX3" fmla="*/ 572285 w 609377"/>
                <a:gd name="connsiteY3" fmla="*/ 435742 h 492194"/>
                <a:gd name="connsiteX4" fmla="*/ 572285 w 609377"/>
                <a:gd name="connsiteY4" fmla="*/ 478222 h 492194"/>
                <a:gd name="connsiteX5" fmla="*/ 518491 w 609377"/>
                <a:gd name="connsiteY5" fmla="*/ 478222 h 492194"/>
                <a:gd name="connsiteX6" fmla="*/ 414600 w 609377"/>
                <a:gd name="connsiteY6" fmla="*/ 478222 h 492194"/>
                <a:gd name="connsiteX7" fmla="*/ 199013 w 609377"/>
                <a:gd name="connsiteY7" fmla="*/ 478222 h 492194"/>
                <a:gd name="connsiteX8" fmla="*/ 182764 w 609377"/>
                <a:gd name="connsiteY8" fmla="*/ 461956 h 492194"/>
                <a:gd name="connsiteX9" fmla="*/ 182764 w 609377"/>
                <a:gd name="connsiteY9" fmla="*/ 452008 h 492194"/>
                <a:gd name="connsiteX10" fmla="*/ 199013 w 609377"/>
                <a:gd name="connsiteY10" fmla="*/ 435742 h 492194"/>
                <a:gd name="connsiteX11" fmla="*/ 598532 w 609377"/>
                <a:gd name="connsiteY11" fmla="*/ 183306 h 492194"/>
                <a:gd name="connsiteX12" fmla="*/ 608505 w 609377"/>
                <a:gd name="connsiteY12" fmla="*/ 203745 h 492194"/>
                <a:gd name="connsiteX13" fmla="*/ 536759 w 609377"/>
                <a:gd name="connsiteY13" fmla="*/ 412878 h 492194"/>
                <a:gd name="connsiteX14" fmla="*/ 534354 w 609377"/>
                <a:gd name="connsiteY14" fmla="*/ 417329 h 492194"/>
                <a:gd name="connsiteX15" fmla="*/ 521155 w 609377"/>
                <a:gd name="connsiteY15" fmla="*/ 424240 h 492194"/>
                <a:gd name="connsiteX16" fmla="*/ 265794 w 609377"/>
                <a:gd name="connsiteY16" fmla="*/ 424240 h 492194"/>
                <a:gd name="connsiteX17" fmla="*/ 249661 w 609377"/>
                <a:gd name="connsiteY17" fmla="*/ 408193 h 492194"/>
                <a:gd name="connsiteX18" fmla="*/ 265794 w 609377"/>
                <a:gd name="connsiteY18" fmla="*/ 392147 h 492194"/>
                <a:gd name="connsiteX19" fmla="*/ 509892 w 609377"/>
                <a:gd name="connsiteY19" fmla="*/ 392147 h 492194"/>
                <a:gd name="connsiteX20" fmla="*/ 578058 w 609377"/>
                <a:gd name="connsiteY20" fmla="*/ 193320 h 492194"/>
                <a:gd name="connsiteX21" fmla="*/ 598532 w 609377"/>
                <a:gd name="connsiteY21" fmla="*/ 183306 h 492194"/>
                <a:gd name="connsiteX22" fmla="*/ 81768 w 609377"/>
                <a:gd name="connsiteY22" fmla="*/ 179942 h 492194"/>
                <a:gd name="connsiteX23" fmla="*/ 81885 w 609377"/>
                <a:gd name="connsiteY23" fmla="*/ 180118 h 492194"/>
                <a:gd name="connsiteX24" fmla="*/ 86754 w 609377"/>
                <a:gd name="connsiteY24" fmla="*/ 179942 h 492194"/>
                <a:gd name="connsiteX25" fmla="*/ 173449 w 609377"/>
                <a:gd name="connsiteY25" fmla="*/ 266555 h 492194"/>
                <a:gd name="connsiteX26" fmla="*/ 173625 w 609377"/>
                <a:gd name="connsiteY26" fmla="*/ 286583 h 492194"/>
                <a:gd name="connsiteX27" fmla="*/ 173625 w 609377"/>
                <a:gd name="connsiteY27" fmla="*/ 310476 h 492194"/>
                <a:gd name="connsiteX28" fmla="*/ 178552 w 609377"/>
                <a:gd name="connsiteY28" fmla="*/ 310476 h 492194"/>
                <a:gd name="connsiteX29" fmla="*/ 384966 w 609377"/>
                <a:gd name="connsiteY29" fmla="*/ 310594 h 492194"/>
                <a:gd name="connsiteX30" fmla="*/ 420923 w 609377"/>
                <a:gd name="connsiteY30" fmla="*/ 346492 h 492194"/>
                <a:gd name="connsiteX31" fmla="*/ 384966 w 609377"/>
                <a:gd name="connsiteY31" fmla="*/ 382390 h 492194"/>
                <a:gd name="connsiteX32" fmla="*/ 179549 w 609377"/>
                <a:gd name="connsiteY32" fmla="*/ 382390 h 492194"/>
                <a:gd name="connsiteX33" fmla="*/ 171278 w 609377"/>
                <a:gd name="connsiteY33" fmla="*/ 382273 h 492194"/>
                <a:gd name="connsiteX34" fmla="*/ 148989 w 609377"/>
                <a:gd name="connsiteY34" fmla="*/ 372084 h 492194"/>
                <a:gd name="connsiteX35" fmla="*/ 78483 w 609377"/>
                <a:gd name="connsiteY35" fmla="*/ 295250 h 492194"/>
                <a:gd name="connsiteX36" fmla="*/ 69978 w 609377"/>
                <a:gd name="connsiteY36" fmla="*/ 294899 h 492194"/>
                <a:gd name="connsiteX37" fmla="*/ 69626 w 609377"/>
                <a:gd name="connsiteY37" fmla="*/ 303390 h 492194"/>
                <a:gd name="connsiteX38" fmla="*/ 140073 w 609377"/>
                <a:gd name="connsiteY38" fmla="*/ 380165 h 492194"/>
                <a:gd name="connsiteX39" fmla="*/ 171044 w 609377"/>
                <a:gd name="connsiteY39" fmla="*/ 393751 h 492194"/>
                <a:gd name="connsiteX40" fmla="*/ 171337 w 609377"/>
                <a:gd name="connsiteY40" fmla="*/ 393751 h 492194"/>
                <a:gd name="connsiteX41" fmla="*/ 173625 w 609377"/>
                <a:gd name="connsiteY41" fmla="*/ 393927 h 492194"/>
                <a:gd name="connsiteX42" fmla="*/ 173625 w 609377"/>
                <a:gd name="connsiteY42" fmla="*/ 492194 h 492194"/>
                <a:gd name="connsiteX43" fmla="*/ 0 w 609377"/>
                <a:gd name="connsiteY43" fmla="*/ 492194 h 492194"/>
                <a:gd name="connsiteX44" fmla="*/ 0 w 609377"/>
                <a:gd name="connsiteY44" fmla="*/ 261577 h 492194"/>
                <a:gd name="connsiteX45" fmla="*/ 81768 w 609377"/>
                <a:gd name="connsiteY45" fmla="*/ 179942 h 492194"/>
                <a:gd name="connsiteX46" fmla="*/ 165194 w 609377"/>
                <a:gd name="connsiteY46" fmla="*/ 0 h 492194"/>
                <a:gd name="connsiteX47" fmla="*/ 255306 w 609377"/>
                <a:gd name="connsiteY47" fmla="*/ 89971 h 492194"/>
                <a:gd name="connsiteX48" fmla="*/ 165194 w 609377"/>
                <a:gd name="connsiteY48" fmla="*/ 179942 h 492194"/>
                <a:gd name="connsiteX49" fmla="*/ 75082 w 609377"/>
                <a:gd name="connsiteY49" fmla="*/ 89971 h 492194"/>
                <a:gd name="connsiteX50" fmla="*/ 165194 w 609377"/>
                <a:gd name="connsiteY50" fmla="*/ 0 h 49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9377" h="492194">
                  <a:moveTo>
                    <a:pt x="199013" y="435742"/>
                  </a:moveTo>
                  <a:lnTo>
                    <a:pt x="414600" y="435742"/>
                  </a:lnTo>
                  <a:lnTo>
                    <a:pt x="518491" y="435742"/>
                  </a:lnTo>
                  <a:lnTo>
                    <a:pt x="572285" y="435742"/>
                  </a:lnTo>
                  <a:lnTo>
                    <a:pt x="572285" y="478222"/>
                  </a:lnTo>
                  <a:lnTo>
                    <a:pt x="518491" y="478222"/>
                  </a:lnTo>
                  <a:lnTo>
                    <a:pt x="414600" y="478222"/>
                  </a:lnTo>
                  <a:lnTo>
                    <a:pt x="199013" y="478222"/>
                  </a:lnTo>
                  <a:cubicBezTo>
                    <a:pt x="190038" y="478222"/>
                    <a:pt x="182764" y="470966"/>
                    <a:pt x="182764" y="461956"/>
                  </a:cubicBezTo>
                  <a:lnTo>
                    <a:pt x="182764" y="452008"/>
                  </a:lnTo>
                  <a:cubicBezTo>
                    <a:pt x="182764" y="443056"/>
                    <a:pt x="190038" y="435742"/>
                    <a:pt x="199013" y="435742"/>
                  </a:cubicBezTo>
                  <a:close/>
                  <a:moveTo>
                    <a:pt x="598532" y="183306"/>
                  </a:moveTo>
                  <a:cubicBezTo>
                    <a:pt x="606921" y="186234"/>
                    <a:pt x="611379" y="195311"/>
                    <a:pt x="608505" y="203745"/>
                  </a:cubicBezTo>
                  <a:lnTo>
                    <a:pt x="536759" y="412878"/>
                  </a:lnTo>
                  <a:cubicBezTo>
                    <a:pt x="536173" y="414518"/>
                    <a:pt x="535352" y="416041"/>
                    <a:pt x="534354" y="417329"/>
                  </a:cubicBezTo>
                  <a:cubicBezTo>
                    <a:pt x="531480" y="421487"/>
                    <a:pt x="526611" y="424240"/>
                    <a:pt x="521155" y="424240"/>
                  </a:cubicBezTo>
                  <a:lnTo>
                    <a:pt x="265794" y="424240"/>
                  </a:lnTo>
                  <a:cubicBezTo>
                    <a:pt x="256877" y="424240"/>
                    <a:pt x="249661" y="417037"/>
                    <a:pt x="249661" y="408193"/>
                  </a:cubicBezTo>
                  <a:cubicBezTo>
                    <a:pt x="249661" y="399292"/>
                    <a:pt x="256877" y="392147"/>
                    <a:pt x="265794" y="392147"/>
                  </a:cubicBezTo>
                  <a:lnTo>
                    <a:pt x="509892" y="392147"/>
                  </a:lnTo>
                  <a:lnTo>
                    <a:pt x="578058" y="193320"/>
                  </a:lnTo>
                  <a:cubicBezTo>
                    <a:pt x="580933" y="184945"/>
                    <a:pt x="590084" y="180436"/>
                    <a:pt x="598532" y="183306"/>
                  </a:cubicBezTo>
                  <a:close/>
                  <a:moveTo>
                    <a:pt x="81768" y="179942"/>
                  </a:moveTo>
                  <a:lnTo>
                    <a:pt x="81885" y="180118"/>
                  </a:lnTo>
                  <a:cubicBezTo>
                    <a:pt x="83527" y="180001"/>
                    <a:pt x="85111" y="179942"/>
                    <a:pt x="86754" y="179942"/>
                  </a:cubicBezTo>
                  <a:cubicBezTo>
                    <a:pt x="134618" y="179942"/>
                    <a:pt x="173449" y="218710"/>
                    <a:pt x="173449" y="266555"/>
                  </a:cubicBezTo>
                  <a:lnTo>
                    <a:pt x="173625" y="286583"/>
                  </a:lnTo>
                  <a:lnTo>
                    <a:pt x="173625" y="310476"/>
                  </a:lnTo>
                  <a:lnTo>
                    <a:pt x="178552" y="310476"/>
                  </a:lnTo>
                  <a:lnTo>
                    <a:pt x="384966" y="310594"/>
                  </a:lnTo>
                  <a:cubicBezTo>
                    <a:pt x="404793" y="310594"/>
                    <a:pt x="420923" y="326698"/>
                    <a:pt x="420923" y="346492"/>
                  </a:cubicBezTo>
                  <a:cubicBezTo>
                    <a:pt x="420923" y="366286"/>
                    <a:pt x="404793" y="382390"/>
                    <a:pt x="384966" y="382390"/>
                  </a:cubicBezTo>
                  <a:lnTo>
                    <a:pt x="179549" y="382390"/>
                  </a:lnTo>
                  <a:cubicBezTo>
                    <a:pt x="179549" y="382390"/>
                    <a:pt x="171865" y="382273"/>
                    <a:pt x="171278" y="382273"/>
                  </a:cubicBezTo>
                  <a:cubicBezTo>
                    <a:pt x="162773" y="382098"/>
                    <a:pt x="154678" y="378291"/>
                    <a:pt x="148989" y="372084"/>
                  </a:cubicBezTo>
                  <a:lnTo>
                    <a:pt x="78483" y="295250"/>
                  </a:lnTo>
                  <a:cubicBezTo>
                    <a:pt x="76254" y="292791"/>
                    <a:pt x="72441" y="292674"/>
                    <a:pt x="69978" y="294899"/>
                  </a:cubicBezTo>
                  <a:cubicBezTo>
                    <a:pt x="67514" y="297124"/>
                    <a:pt x="67397" y="300931"/>
                    <a:pt x="69626" y="303390"/>
                  </a:cubicBezTo>
                  <a:lnTo>
                    <a:pt x="140073" y="380165"/>
                  </a:lnTo>
                  <a:cubicBezTo>
                    <a:pt x="148050" y="388832"/>
                    <a:pt x="159312" y="393751"/>
                    <a:pt x="171044" y="393751"/>
                  </a:cubicBezTo>
                  <a:cubicBezTo>
                    <a:pt x="171161" y="393751"/>
                    <a:pt x="171161" y="393751"/>
                    <a:pt x="171337" y="393751"/>
                  </a:cubicBezTo>
                  <a:lnTo>
                    <a:pt x="173625" y="393927"/>
                  </a:lnTo>
                  <a:lnTo>
                    <a:pt x="173625" y="492194"/>
                  </a:lnTo>
                  <a:lnTo>
                    <a:pt x="0" y="492194"/>
                  </a:lnTo>
                  <a:lnTo>
                    <a:pt x="0" y="261577"/>
                  </a:lnTo>
                  <a:cubicBezTo>
                    <a:pt x="0" y="216485"/>
                    <a:pt x="36602" y="179942"/>
                    <a:pt x="81768" y="179942"/>
                  </a:cubicBezTo>
                  <a:close/>
                  <a:moveTo>
                    <a:pt x="165194" y="0"/>
                  </a:moveTo>
                  <a:cubicBezTo>
                    <a:pt x="214961" y="0"/>
                    <a:pt x="255306" y="40281"/>
                    <a:pt x="255306" y="89971"/>
                  </a:cubicBezTo>
                  <a:cubicBezTo>
                    <a:pt x="255306" y="139661"/>
                    <a:pt x="214961" y="179942"/>
                    <a:pt x="165194" y="179942"/>
                  </a:cubicBezTo>
                  <a:cubicBezTo>
                    <a:pt x="115427" y="179942"/>
                    <a:pt x="75082" y="139661"/>
                    <a:pt x="75082" y="89971"/>
                  </a:cubicBezTo>
                  <a:cubicBezTo>
                    <a:pt x="75082" y="40281"/>
                    <a:pt x="115427" y="0"/>
                    <a:pt x="165194" y="0"/>
                  </a:cubicBezTo>
                  <a:close/>
                </a:path>
              </a:pathLst>
            </a:custGeom>
            <a:solidFill>
              <a:srgbClr val="F79646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38" name="man-working-on-a-laptop-from-side-view_49728"/>
            <p:cNvSpPr>
              <a:spLocks noChangeAspect="1"/>
            </p:cNvSpPr>
            <p:nvPr/>
          </p:nvSpPr>
          <p:spPr bwMode="auto">
            <a:xfrm>
              <a:off x="7288105" y="1944167"/>
              <a:ext cx="421481" cy="377847"/>
            </a:xfrm>
            <a:custGeom>
              <a:avLst/>
              <a:gdLst>
                <a:gd name="connsiteX0" fmla="*/ 199013 w 609377"/>
                <a:gd name="connsiteY0" fmla="*/ 435742 h 492194"/>
                <a:gd name="connsiteX1" fmla="*/ 414600 w 609377"/>
                <a:gd name="connsiteY1" fmla="*/ 435742 h 492194"/>
                <a:gd name="connsiteX2" fmla="*/ 518491 w 609377"/>
                <a:gd name="connsiteY2" fmla="*/ 435742 h 492194"/>
                <a:gd name="connsiteX3" fmla="*/ 572285 w 609377"/>
                <a:gd name="connsiteY3" fmla="*/ 435742 h 492194"/>
                <a:gd name="connsiteX4" fmla="*/ 572285 w 609377"/>
                <a:gd name="connsiteY4" fmla="*/ 478222 h 492194"/>
                <a:gd name="connsiteX5" fmla="*/ 518491 w 609377"/>
                <a:gd name="connsiteY5" fmla="*/ 478222 h 492194"/>
                <a:gd name="connsiteX6" fmla="*/ 414600 w 609377"/>
                <a:gd name="connsiteY6" fmla="*/ 478222 h 492194"/>
                <a:gd name="connsiteX7" fmla="*/ 199013 w 609377"/>
                <a:gd name="connsiteY7" fmla="*/ 478222 h 492194"/>
                <a:gd name="connsiteX8" fmla="*/ 182764 w 609377"/>
                <a:gd name="connsiteY8" fmla="*/ 461956 h 492194"/>
                <a:gd name="connsiteX9" fmla="*/ 182764 w 609377"/>
                <a:gd name="connsiteY9" fmla="*/ 452008 h 492194"/>
                <a:gd name="connsiteX10" fmla="*/ 199013 w 609377"/>
                <a:gd name="connsiteY10" fmla="*/ 435742 h 492194"/>
                <a:gd name="connsiteX11" fmla="*/ 598532 w 609377"/>
                <a:gd name="connsiteY11" fmla="*/ 183306 h 492194"/>
                <a:gd name="connsiteX12" fmla="*/ 608505 w 609377"/>
                <a:gd name="connsiteY12" fmla="*/ 203745 h 492194"/>
                <a:gd name="connsiteX13" fmla="*/ 536759 w 609377"/>
                <a:gd name="connsiteY13" fmla="*/ 412878 h 492194"/>
                <a:gd name="connsiteX14" fmla="*/ 534354 w 609377"/>
                <a:gd name="connsiteY14" fmla="*/ 417329 h 492194"/>
                <a:gd name="connsiteX15" fmla="*/ 521155 w 609377"/>
                <a:gd name="connsiteY15" fmla="*/ 424240 h 492194"/>
                <a:gd name="connsiteX16" fmla="*/ 265794 w 609377"/>
                <a:gd name="connsiteY16" fmla="*/ 424240 h 492194"/>
                <a:gd name="connsiteX17" fmla="*/ 249661 w 609377"/>
                <a:gd name="connsiteY17" fmla="*/ 408193 h 492194"/>
                <a:gd name="connsiteX18" fmla="*/ 265794 w 609377"/>
                <a:gd name="connsiteY18" fmla="*/ 392147 h 492194"/>
                <a:gd name="connsiteX19" fmla="*/ 509892 w 609377"/>
                <a:gd name="connsiteY19" fmla="*/ 392147 h 492194"/>
                <a:gd name="connsiteX20" fmla="*/ 578058 w 609377"/>
                <a:gd name="connsiteY20" fmla="*/ 193320 h 492194"/>
                <a:gd name="connsiteX21" fmla="*/ 598532 w 609377"/>
                <a:gd name="connsiteY21" fmla="*/ 183306 h 492194"/>
                <a:gd name="connsiteX22" fmla="*/ 81768 w 609377"/>
                <a:gd name="connsiteY22" fmla="*/ 179942 h 492194"/>
                <a:gd name="connsiteX23" fmla="*/ 81885 w 609377"/>
                <a:gd name="connsiteY23" fmla="*/ 180118 h 492194"/>
                <a:gd name="connsiteX24" fmla="*/ 86754 w 609377"/>
                <a:gd name="connsiteY24" fmla="*/ 179942 h 492194"/>
                <a:gd name="connsiteX25" fmla="*/ 173449 w 609377"/>
                <a:gd name="connsiteY25" fmla="*/ 266555 h 492194"/>
                <a:gd name="connsiteX26" fmla="*/ 173625 w 609377"/>
                <a:gd name="connsiteY26" fmla="*/ 286583 h 492194"/>
                <a:gd name="connsiteX27" fmla="*/ 173625 w 609377"/>
                <a:gd name="connsiteY27" fmla="*/ 310476 h 492194"/>
                <a:gd name="connsiteX28" fmla="*/ 178552 w 609377"/>
                <a:gd name="connsiteY28" fmla="*/ 310476 h 492194"/>
                <a:gd name="connsiteX29" fmla="*/ 384966 w 609377"/>
                <a:gd name="connsiteY29" fmla="*/ 310594 h 492194"/>
                <a:gd name="connsiteX30" fmla="*/ 420923 w 609377"/>
                <a:gd name="connsiteY30" fmla="*/ 346492 h 492194"/>
                <a:gd name="connsiteX31" fmla="*/ 384966 w 609377"/>
                <a:gd name="connsiteY31" fmla="*/ 382390 h 492194"/>
                <a:gd name="connsiteX32" fmla="*/ 179549 w 609377"/>
                <a:gd name="connsiteY32" fmla="*/ 382390 h 492194"/>
                <a:gd name="connsiteX33" fmla="*/ 171278 w 609377"/>
                <a:gd name="connsiteY33" fmla="*/ 382273 h 492194"/>
                <a:gd name="connsiteX34" fmla="*/ 148989 w 609377"/>
                <a:gd name="connsiteY34" fmla="*/ 372084 h 492194"/>
                <a:gd name="connsiteX35" fmla="*/ 78483 w 609377"/>
                <a:gd name="connsiteY35" fmla="*/ 295250 h 492194"/>
                <a:gd name="connsiteX36" fmla="*/ 69978 w 609377"/>
                <a:gd name="connsiteY36" fmla="*/ 294899 h 492194"/>
                <a:gd name="connsiteX37" fmla="*/ 69626 w 609377"/>
                <a:gd name="connsiteY37" fmla="*/ 303390 h 492194"/>
                <a:gd name="connsiteX38" fmla="*/ 140073 w 609377"/>
                <a:gd name="connsiteY38" fmla="*/ 380165 h 492194"/>
                <a:gd name="connsiteX39" fmla="*/ 171044 w 609377"/>
                <a:gd name="connsiteY39" fmla="*/ 393751 h 492194"/>
                <a:gd name="connsiteX40" fmla="*/ 171337 w 609377"/>
                <a:gd name="connsiteY40" fmla="*/ 393751 h 492194"/>
                <a:gd name="connsiteX41" fmla="*/ 173625 w 609377"/>
                <a:gd name="connsiteY41" fmla="*/ 393927 h 492194"/>
                <a:gd name="connsiteX42" fmla="*/ 173625 w 609377"/>
                <a:gd name="connsiteY42" fmla="*/ 492194 h 492194"/>
                <a:gd name="connsiteX43" fmla="*/ 0 w 609377"/>
                <a:gd name="connsiteY43" fmla="*/ 492194 h 492194"/>
                <a:gd name="connsiteX44" fmla="*/ 0 w 609377"/>
                <a:gd name="connsiteY44" fmla="*/ 261577 h 492194"/>
                <a:gd name="connsiteX45" fmla="*/ 81768 w 609377"/>
                <a:gd name="connsiteY45" fmla="*/ 179942 h 492194"/>
                <a:gd name="connsiteX46" fmla="*/ 165194 w 609377"/>
                <a:gd name="connsiteY46" fmla="*/ 0 h 492194"/>
                <a:gd name="connsiteX47" fmla="*/ 255306 w 609377"/>
                <a:gd name="connsiteY47" fmla="*/ 89971 h 492194"/>
                <a:gd name="connsiteX48" fmla="*/ 165194 w 609377"/>
                <a:gd name="connsiteY48" fmla="*/ 179942 h 492194"/>
                <a:gd name="connsiteX49" fmla="*/ 75082 w 609377"/>
                <a:gd name="connsiteY49" fmla="*/ 89971 h 492194"/>
                <a:gd name="connsiteX50" fmla="*/ 165194 w 609377"/>
                <a:gd name="connsiteY50" fmla="*/ 0 h 49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609377" h="492194">
                  <a:moveTo>
                    <a:pt x="199013" y="435742"/>
                  </a:moveTo>
                  <a:lnTo>
                    <a:pt x="414600" y="435742"/>
                  </a:lnTo>
                  <a:lnTo>
                    <a:pt x="518491" y="435742"/>
                  </a:lnTo>
                  <a:lnTo>
                    <a:pt x="572285" y="435742"/>
                  </a:lnTo>
                  <a:lnTo>
                    <a:pt x="572285" y="478222"/>
                  </a:lnTo>
                  <a:lnTo>
                    <a:pt x="518491" y="478222"/>
                  </a:lnTo>
                  <a:lnTo>
                    <a:pt x="414600" y="478222"/>
                  </a:lnTo>
                  <a:lnTo>
                    <a:pt x="199013" y="478222"/>
                  </a:lnTo>
                  <a:cubicBezTo>
                    <a:pt x="190038" y="478222"/>
                    <a:pt x="182764" y="470966"/>
                    <a:pt x="182764" y="461956"/>
                  </a:cubicBezTo>
                  <a:lnTo>
                    <a:pt x="182764" y="452008"/>
                  </a:lnTo>
                  <a:cubicBezTo>
                    <a:pt x="182764" y="443056"/>
                    <a:pt x="190038" y="435742"/>
                    <a:pt x="199013" y="435742"/>
                  </a:cubicBezTo>
                  <a:close/>
                  <a:moveTo>
                    <a:pt x="598532" y="183306"/>
                  </a:moveTo>
                  <a:cubicBezTo>
                    <a:pt x="606921" y="186234"/>
                    <a:pt x="611379" y="195311"/>
                    <a:pt x="608505" y="203745"/>
                  </a:cubicBezTo>
                  <a:lnTo>
                    <a:pt x="536759" y="412878"/>
                  </a:lnTo>
                  <a:cubicBezTo>
                    <a:pt x="536173" y="414518"/>
                    <a:pt x="535352" y="416041"/>
                    <a:pt x="534354" y="417329"/>
                  </a:cubicBezTo>
                  <a:cubicBezTo>
                    <a:pt x="531480" y="421487"/>
                    <a:pt x="526611" y="424240"/>
                    <a:pt x="521155" y="424240"/>
                  </a:cubicBezTo>
                  <a:lnTo>
                    <a:pt x="265794" y="424240"/>
                  </a:lnTo>
                  <a:cubicBezTo>
                    <a:pt x="256877" y="424240"/>
                    <a:pt x="249661" y="417037"/>
                    <a:pt x="249661" y="408193"/>
                  </a:cubicBezTo>
                  <a:cubicBezTo>
                    <a:pt x="249661" y="399292"/>
                    <a:pt x="256877" y="392147"/>
                    <a:pt x="265794" y="392147"/>
                  </a:cubicBezTo>
                  <a:lnTo>
                    <a:pt x="509892" y="392147"/>
                  </a:lnTo>
                  <a:lnTo>
                    <a:pt x="578058" y="193320"/>
                  </a:lnTo>
                  <a:cubicBezTo>
                    <a:pt x="580933" y="184945"/>
                    <a:pt x="590084" y="180436"/>
                    <a:pt x="598532" y="183306"/>
                  </a:cubicBezTo>
                  <a:close/>
                  <a:moveTo>
                    <a:pt x="81768" y="179942"/>
                  </a:moveTo>
                  <a:lnTo>
                    <a:pt x="81885" y="180118"/>
                  </a:lnTo>
                  <a:cubicBezTo>
                    <a:pt x="83527" y="180001"/>
                    <a:pt x="85111" y="179942"/>
                    <a:pt x="86754" y="179942"/>
                  </a:cubicBezTo>
                  <a:cubicBezTo>
                    <a:pt x="134618" y="179942"/>
                    <a:pt x="173449" y="218710"/>
                    <a:pt x="173449" y="266555"/>
                  </a:cubicBezTo>
                  <a:lnTo>
                    <a:pt x="173625" y="286583"/>
                  </a:lnTo>
                  <a:lnTo>
                    <a:pt x="173625" y="310476"/>
                  </a:lnTo>
                  <a:lnTo>
                    <a:pt x="178552" y="310476"/>
                  </a:lnTo>
                  <a:lnTo>
                    <a:pt x="384966" y="310594"/>
                  </a:lnTo>
                  <a:cubicBezTo>
                    <a:pt x="404793" y="310594"/>
                    <a:pt x="420923" y="326698"/>
                    <a:pt x="420923" y="346492"/>
                  </a:cubicBezTo>
                  <a:cubicBezTo>
                    <a:pt x="420923" y="366286"/>
                    <a:pt x="404793" y="382390"/>
                    <a:pt x="384966" y="382390"/>
                  </a:cubicBezTo>
                  <a:lnTo>
                    <a:pt x="179549" y="382390"/>
                  </a:lnTo>
                  <a:cubicBezTo>
                    <a:pt x="179549" y="382390"/>
                    <a:pt x="171865" y="382273"/>
                    <a:pt x="171278" y="382273"/>
                  </a:cubicBezTo>
                  <a:cubicBezTo>
                    <a:pt x="162773" y="382098"/>
                    <a:pt x="154678" y="378291"/>
                    <a:pt x="148989" y="372084"/>
                  </a:cubicBezTo>
                  <a:lnTo>
                    <a:pt x="78483" y="295250"/>
                  </a:lnTo>
                  <a:cubicBezTo>
                    <a:pt x="76254" y="292791"/>
                    <a:pt x="72441" y="292674"/>
                    <a:pt x="69978" y="294899"/>
                  </a:cubicBezTo>
                  <a:cubicBezTo>
                    <a:pt x="67514" y="297124"/>
                    <a:pt x="67397" y="300931"/>
                    <a:pt x="69626" y="303390"/>
                  </a:cubicBezTo>
                  <a:lnTo>
                    <a:pt x="140073" y="380165"/>
                  </a:lnTo>
                  <a:cubicBezTo>
                    <a:pt x="148050" y="388832"/>
                    <a:pt x="159312" y="393751"/>
                    <a:pt x="171044" y="393751"/>
                  </a:cubicBezTo>
                  <a:cubicBezTo>
                    <a:pt x="171161" y="393751"/>
                    <a:pt x="171161" y="393751"/>
                    <a:pt x="171337" y="393751"/>
                  </a:cubicBezTo>
                  <a:lnTo>
                    <a:pt x="173625" y="393927"/>
                  </a:lnTo>
                  <a:lnTo>
                    <a:pt x="173625" y="492194"/>
                  </a:lnTo>
                  <a:lnTo>
                    <a:pt x="0" y="492194"/>
                  </a:lnTo>
                  <a:lnTo>
                    <a:pt x="0" y="261577"/>
                  </a:lnTo>
                  <a:cubicBezTo>
                    <a:pt x="0" y="216485"/>
                    <a:pt x="36602" y="179942"/>
                    <a:pt x="81768" y="179942"/>
                  </a:cubicBezTo>
                  <a:close/>
                  <a:moveTo>
                    <a:pt x="165194" y="0"/>
                  </a:moveTo>
                  <a:cubicBezTo>
                    <a:pt x="214961" y="0"/>
                    <a:pt x="255306" y="40281"/>
                    <a:pt x="255306" y="89971"/>
                  </a:cubicBezTo>
                  <a:cubicBezTo>
                    <a:pt x="255306" y="139661"/>
                    <a:pt x="214961" y="179942"/>
                    <a:pt x="165194" y="179942"/>
                  </a:cubicBezTo>
                  <a:cubicBezTo>
                    <a:pt x="115427" y="179942"/>
                    <a:pt x="75082" y="139661"/>
                    <a:pt x="75082" y="89971"/>
                  </a:cubicBezTo>
                  <a:cubicBezTo>
                    <a:pt x="75082" y="40281"/>
                    <a:pt x="115427" y="0"/>
                    <a:pt x="165194" y="0"/>
                  </a:cubicBezTo>
                  <a:close/>
                </a:path>
              </a:pathLst>
            </a:custGeom>
            <a:solidFill>
              <a:srgbClr val="F79646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39" name="直接箭头连接符 38"/>
            <p:cNvCxnSpPr/>
            <p:nvPr/>
          </p:nvCxnSpPr>
          <p:spPr>
            <a:xfrm flipV="1">
              <a:off x="6695934" y="1273490"/>
              <a:ext cx="494138" cy="213592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箭头连接符 39"/>
            <p:cNvCxnSpPr/>
            <p:nvPr/>
          </p:nvCxnSpPr>
          <p:spPr>
            <a:xfrm flipV="1">
              <a:off x="6667545" y="1674961"/>
              <a:ext cx="480405" cy="18428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箭头连接符 40"/>
            <p:cNvCxnSpPr/>
            <p:nvPr/>
          </p:nvCxnSpPr>
          <p:spPr>
            <a:xfrm>
              <a:off x="6667545" y="1896748"/>
              <a:ext cx="480405" cy="253118"/>
            </a:xfrm>
            <a:prstGeom prst="straightConnector1">
              <a:avLst/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圆角矩形 41"/>
          <p:cNvSpPr/>
          <p:nvPr/>
        </p:nvSpPr>
        <p:spPr>
          <a:xfrm>
            <a:off x="3729098" y="2640181"/>
            <a:ext cx="873409" cy="1397179"/>
          </a:xfrm>
          <a:prstGeom prst="roundRect">
            <a:avLst>
              <a:gd name="adj" fmla="val 4877"/>
            </a:avLst>
          </a:prstGeom>
          <a:solidFill>
            <a:srgbClr val="F25822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43" name="文本框 42"/>
          <p:cNvSpPr txBox="1"/>
          <p:nvPr/>
        </p:nvSpPr>
        <p:spPr>
          <a:xfrm>
            <a:off x="3846589" y="3077256"/>
            <a:ext cx="645256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登录</a:t>
            </a: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4859342" y="2960461"/>
            <a:ext cx="3372223" cy="1008585"/>
          </a:xfrm>
          <a:prstGeom prst="rect">
            <a:avLst/>
          </a:prstGeom>
        </p:spPr>
      </p:pic>
      <p:grpSp>
        <p:nvGrpSpPr>
          <p:cNvPr id="48" name="组合 47"/>
          <p:cNvGrpSpPr/>
          <p:nvPr/>
        </p:nvGrpSpPr>
        <p:grpSpPr>
          <a:xfrm>
            <a:off x="4706072" y="4367877"/>
            <a:ext cx="3777995" cy="1669593"/>
            <a:chOff x="3418688" y="3897324"/>
            <a:chExt cx="3146904" cy="2334746"/>
          </a:xfrm>
        </p:grpSpPr>
        <p:sp>
          <p:nvSpPr>
            <p:cNvPr id="49" name="流程图: 过程 48"/>
            <p:cNvSpPr/>
            <p:nvPr/>
          </p:nvSpPr>
          <p:spPr>
            <a:xfrm>
              <a:off x="3967627" y="4440666"/>
              <a:ext cx="476480" cy="561599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网银卡调用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50" name="直接箭头连接符 49"/>
            <p:cNvCxnSpPr/>
            <p:nvPr/>
          </p:nvCxnSpPr>
          <p:spPr>
            <a:xfrm flipV="1">
              <a:off x="4474039" y="4601414"/>
              <a:ext cx="28800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1" name="肘形连接符 50"/>
            <p:cNvCxnSpPr/>
            <p:nvPr/>
          </p:nvCxnSpPr>
          <p:spPr>
            <a:xfrm>
              <a:off x="6478552" y="4679917"/>
              <a:ext cx="14522" cy="1112334"/>
            </a:xfrm>
            <a:prstGeom prst="bentConnector3">
              <a:avLst>
                <a:gd name="adj1" fmla="val 917119"/>
              </a:avLst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2" name="流程图: 过程 51"/>
            <p:cNvSpPr/>
            <p:nvPr/>
          </p:nvSpPr>
          <p:spPr>
            <a:xfrm>
              <a:off x="5747783" y="5573489"/>
              <a:ext cx="302400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</a:t>
              </a:r>
              <a:endParaRPr kumimoji="0" lang="en-US" altLang="zh-CN" sz="9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网银卡权限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53" name="流程图: 过程 52"/>
            <p:cNvSpPr/>
            <p:nvPr/>
          </p:nvSpPr>
          <p:spPr>
            <a:xfrm>
              <a:off x="6187628" y="5565329"/>
              <a:ext cx="302400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</a:t>
              </a:r>
              <a:endParaRPr kumimoji="0" lang="en-US" altLang="zh-CN" sz="9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用户名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3812962" y="3911839"/>
              <a:ext cx="827597" cy="28159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远程调用</a:t>
              </a: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4036315" y="4918070"/>
              <a:ext cx="190322" cy="17913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56" name="直接箭头连接符 55"/>
            <p:cNvCxnSpPr/>
            <p:nvPr/>
          </p:nvCxnSpPr>
          <p:spPr>
            <a:xfrm flipH="1">
              <a:off x="6046394" y="5798415"/>
              <a:ext cx="10800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7" name="直接箭头连接符 56"/>
            <p:cNvCxnSpPr/>
            <p:nvPr/>
          </p:nvCxnSpPr>
          <p:spPr>
            <a:xfrm flipH="1">
              <a:off x="5599580" y="5798415"/>
              <a:ext cx="10800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8" name="直接箭头连接符 57"/>
            <p:cNvCxnSpPr/>
            <p:nvPr/>
          </p:nvCxnSpPr>
          <p:spPr>
            <a:xfrm flipH="1">
              <a:off x="5147897" y="5798415"/>
              <a:ext cx="121284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9" name="直接箭头连接符 58"/>
            <p:cNvCxnSpPr/>
            <p:nvPr/>
          </p:nvCxnSpPr>
          <p:spPr>
            <a:xfrm flipH="1">
              <a:off x="4756044" y="5792251"/>
              <a:ext cx="121284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60" name="矩形 59"/>
            <p:cNvSpPr/>
            <p:nvPr/>
          </p:nvSpPr>
          <p:spPr>
            <a:xfrm>
              <a:off x="4690191" y="4173220"/>
              <a:ext cx="1838448" cy="902935"/>
            </a:xfrm>
            <a:prstGeom prst="rect">
              <a:avLst/>
            </a:prstGeom>
            <a:noFill/>
            <a:ln w="12700" cap="flat" cmpd="sng" algn="ctr">
              <a:solidFill>
                <a:srgbClr val="B19C7D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4067243" y="5332433"/>
              <a:ext cx="2498349" cy="899637"/>
            </a:xfrm>
            <a:prstGeom prst="rect">
              <a:avLst/>
            </a:prstGeom>
            <a:noFill/>
            <a:ln w="12700" cap="flat" cmpd="sng" algn="ctr">
              <a:solidFill>
                <a:srgbClr val="B19C7D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4306887" y="5075792"/>
              <a:ext cx="2184081" cy="2678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X-Path</a:t>
              </a:r>
              <a:r>
                <a:rPr kumimoji="0" lang="zh-CN" altLang="en-US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抓取信息，</a:t>
              </a:r>
              <a:r>
                <a:rPr kumimoji="0" lang="en-US" altLang="zh-CN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RPA</a:t>
              </a:r>
              <a:r>
                <a:rPr kumimoji="0" lang="zh-CN" altLang="en-US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比对</a:t>
              </a: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grpSp>
          <p:nvGrpSpPr>
            <p:cNvPr id="63" name="组合 62"/>
            <p:cNvGrpSpPr/>
            <p:nvPr/>
          </p:nvGrpSpPr>
          <p:grpSpPr>
            <a:xfrm>
              <a:off x="4756656" y="4210745"/>
              <a:ext cx="432000" cy="791521"/>
              <a:chOff x="5630779" y="4227679"/>
              <a:chExt cx="432000" cy="791521"/>
            </a:xfrm>
          </p:grpSpPr>
          <p:sp>
            <p:nvSpPr>
              <p:cNvPr id="90" name="流程图: 过程 89"/>
              <p:cNvSpPr/>
              <p:nvPr/>
            </p:nvSpPr>
            <p:spPr>
              <a:xfrm>
                <a:off x="5630779" y="4457600"/>
                <a:ext cx="432000" cy="561600"/>
              </a:xfrm>
              <a:prstGeom prst="flowChartProcess">
                <a:avLst/>
              </a:prstGeom>
              <a:solidFill>
                <a:srgbClr val="FCDED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登</a:t>
                </a:r>
                <a:r>
                  <a:rPr kumimoji="0" lang="zh-CN" altLang="en-US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录</a:t>
                </a:r>
                <a:r>
                  <a:rPr kumimoji="0" lang="en-US" altLang="zh-CN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TMS</a:t>
                </a:r>
                <a:endPara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91" name="安卓 822"/>
              <p:cNvSpPr>
                <a:spLocks/>
              </p:cNvSpPr>
              <p:nvPr/>
            </p:nvSpPr>
            <p:spPr bwMode="auto">
              <a:xfrm>
                <a:off x="5754705" y="4227679"/>
                <a:ext cx="151413" cy="201532"/>
              </a:xfrm>
              <a:custGeom>
                <a:avLst/>
                <a:gdLst>
                  <a:gd name="T0" fmla="*/ 307141 w 1674290"/>
                  <a:gd name="T1" fmla="*/ 691642 h 2018114"/>
                  <a:gd name="T2" fmla="*/ 1378912 w 1674290"/>
                  <a:gd name="T3" fmla="*/ 691642 h 2018114"/>
                  <a:gd name="T4" fmla="*/ 1369387 w 1674290"/>
                  <a:gd name="T5" fmla="*/ 1458335 h 2018114"/>
                  <a:gd name="T6" fmla="*/ 1218316 w 1674290"/>
                  <a:gd name="T7" fmla="*/ 1609406 h 2018114"/>
                  <a:gd name="T8" fmla="*/ 1158892 w 1674290"/>
                  <a:gd name="T9" fmla="*/ 1609406 h 2018114"/>
                  <a:gd name="T10" fmla="*/ 1158892 w 1674290"/>
                  <a:gd name="T11" fmla="*/ 1898352 h 2018114"/>
                  <a:gd name="T12" fmla="*/ 1039130 w 1674290"/>
                  <a:gd name="T13" fmla="*/ 2018114 h 2018114"/>
                  <a:gd name="T14" fmla="*/ 919368 w 1674290"/>
                  <a:gd name="T15" fmla="*/ 1898352 h 2018114"/>
                  <a:gd name="T16" fmla="*/ 919368 w 1674290"/>
                  <a:gd name="T17" fmla="*/ 1609406 h 2018114"/>
                  <a:gd name="T18" fmla="*/ 765901 w 1674290"/>
                  <a:gd name="T19" fmla="*/ 1609406 h 2018114"/>
                  <a:gd name="T20" fmla="*/ 765901 w 1674290"/>
                  <a:gd name="T21" fmla="*/ 1898351 h 2018114"/>
                  <a:gd name="T22" fmla="*/ 646139 w 1674290"/>
                  <a:gd name="T23" fmla="*/ 2018113 h 2018114"/>
                  <a:gd name="T24" fmla="*/ 526377 w 1674290"/>
                  <a:gd name="T25" fmla="*/ 1898351 h 2018114"/>
                  <a:gd name="T26" fmla="*/ 526377 w 1674290"/>
                  <a:gd name="T27" fmla="*/ 1609406 h 2018114"/>
                  <a:gd name="T28" fmla="*/ 458213 w 1674290"/>
                  <a:gd name="T29" fmla="*/ 1609406 h 2018114"/>
                  <a:gd name="T30" fmla="*/ 307141 w 1674290"/>
                  <a:gd name="T31" fmla="*/ 1458335 h 2018114"/>
                  <a:gd name="T32" fmla="*/ 307141 w 1674290"/>
                  <a:gd name="T33" fmla="*/ 1156202 h 2018114"/>
                  <a:gd name="T34" fmla="*/ 307141 w 1674290"/>
                  <a:gd name="T35" fmla="*/ 854070 h 2018114"/>
                  <a:gd name="T36" fmla="*/ 307141 w 1674290"/>
                  <a:gd name="T37" fmla="*/ 691642 h 2018114"/>
                  <a:gd name="T38" fmla="*/ 1554528 w 1674290"/>
                  <a:gd name="T39" fmla="*/ 683951 h 2018114"/>
                  <a:gd name="T40" fmla="*/ 1674290 w 1674290"/>
                  <a:gd name="T41" fmla="*/ 803713 h 2018114"/>
                  <a:gd name="T42" fmla="*/ 1674290 w 1674290"/>
                  <a:gd name="T43" fmla="*/ 1299148 h 2018114"/>
                  <a:gd name="T44" fmla="*/ 1554528 w 1674290"/>
                  <a:gd name="T45" fmla="*/ 1418910 h 2018114"/>
                  <a:gd name="T46" fmla="*/ 1434766 w 1674290"/>
                  <a:gd name="T47" fmla="*/ 1299148 h 2018114"/>
                  <a:gd name="T48" fmla="*/ 1434766 w 1674290"/>
                  <a:gd name="T49" fmla="*/ 803713 h 2018114"/>
                  <a:gd name="T50" fmla="*/ 1554528 w 1674290"/>
                  <a:gd name="T51" fmla="*/ 683951 h 2018114"/>
                  <a:gd name="T52" fmla="*/ 119762 w 1674290"/>
                  <a:gd name="T53" fmla="*/ 683950 h 2018114"/>
                  <a:gd name="T54" fmla="*/ 239524 w 1674290"/>
                  <a:gd name="T55" fmla="*/ 803712 h 2018114"/>
                  <a:gd name="T56" fmla="*/ 239524 w 1674290"/>
                  <a:gd name="T57" fmla="*/ 1299147 h 2018114"/>
                  <a:gd name="T58" fmla="*/ 119762 w 1674290"/>
                  <a:gd name="T59" fmla="*/ 1418909 h 2018114"/>
                  <a:gd name="T60" fmla="*/ 0 w 1674290"/>
                  <a:gd name="T61" fmla="*/ 1299147 h 2018114"/>
                  <a:gd name="T62" fmla="*/ 0 w 1674290"/>
                  <a:gd name="T63" fmla="*/ 803712 h 2018114"/>
                  <a:gd name="T64" fmla="*/ 119762 w 1674290"/>
                  <a:gd name="T65" fmla="*/ 683950 h 2018114"/>
                  <a:gd name="T66" fmla="*/ 1058285 w 1674290"/>
                  <a:gd name="T67" fmla="*/ 381191 h 2018114"/>
                  <a:gd name="T68" fmla="*/ 1003614 w 1674290"/>
                  <a:gd name="T69" fmla="*/ 435862 h 2018114"/>
                  <a:gd name="T70" fmla="*/ 1058285 w 1674290"/>
                  <a:gd name="T71" fmla="*/ 490533 h 2018114"/>
                  <a:gd name="T72" fmla="*/ 1112956 w 1674290"/>
                  <a:gd name="T73" fmla="*/ 435862 h 2018114"/>
                  <a:gd name="T74" fmla="*/ 1058285 w 1674290"/>
                  <a:gd name="T75" fmla="*/ 381191 h 2018114"/>
                  <a:gd name="T76" fmla="*/ 620445 w 1674290"/>
                  <a:gd name="T77" fmla="*/ 381191 h 2018114"/>
                  <a:gd name="T78" fmla="*/ 565774 w 1674290"/>
                  <a:gd name="T79" fmla="*/ 435862 h 2018114"/>
                  <a:gd name="T80" fmla="*/ 620445 w 1674290"/>
                  <a:gd name="T81" fmla="*/ 490533 h 2018114"/>
                  <a:gd name="T82" fmla="*/ 675116 w 1674290"/>
                  <a:gd name="T83" fmla="*/ 435862 h 2018114"/>
                  <a:gd name="T84" fmla="*/ 620445 w 1674290"/>
                  <a:gd name="T85" fmla="*/ 381191 h 2018114"/>
                  <a:gd name="T86" fmla="*/ 508384 w 1674290"/>
                  <a:gd name="T87" fmla="*/ 1373 h 2018114"/>
                  <a:gd name="T88" fmla="*/ 526639 w 1674290"/>
                  <a:gd name="T89" fmla="*/ 16470 h 2018114"/>
                  <a:gd name="T90" fmla="*/ 615978 w 1674290"/>
                  <a:gd name="T91" fmla="*/ 185144 h 2018114"/>
                  <a:gd name="T92" fmla="*/ 853439 w 1674290"/>
                  <a:gd name="T93" fmla="*/ 128483 h 2018114"/>
                  <a:gd name="T94" fmla="*/ 1075718 w 1674290"/>
                  <a:gd name="T95" fmla="*/ 177325 h 2018114"/>
                  <a:gd name="T96" fmla="*/ 1150798 w 1674290"/>
                  <a:gd name="T97" fmla="*/ 40824 h 2018114"/>
                  <a:gd name="T98" fmla="*/ 1169289 w 1674290"/>
                  <a:gd name="T99" fmla="*/ 26016 h 2018114"/>
                  <a:gd name="T100" fmla="*/ 1192835 w 1674290"/>
                  <a:gd name="T101" fmla="*/ 28621 h 2018114"/>
                  <a:gd name="T102" fmla="*/ 1205038 w 1674290"/>
                  <a:gd name="T103" fmla="*/ 70658 h 2018114"/>
                  <a:gd name="T104" fmla="*/ 1130773 w 1674290"/>
                  <a:gd name="T105" fmla="*/ 205677 h 2018114"/>
                  <a:gd name="T106" fmla="*/ 1395615 w 1674290"/>
                  <a:gd name="T107" fmla="*/ 633899 h 2018114"/>
                  <a:gd name="T108" fmla="*/ 311263 w 1674290"/>
                  <a:gd name="T109" fmla="*/ 633899 h 2018114"/>
                  <a:gd name="T110" fmla="*/ 560939 w 1674290"/>
                  <a:gd name="T111" fmla="*/ 213488 h 2018114"/>
                  <a:gd name="T112" fmla="*/ 471935 w 1674290"/>
                  <a:gd name="T113" fmla="*/ 45445 h 2018114"/>
                  <a:gd name="T114" fmla="*/ 484800 w 1674290"/>
                  <a:gd name="T115" fmla="*/ 3605 h 2018114"/>
                  <a:gd name="T116" fmla="*/ 508384 w 1674290"/>
                  <a:gd name="T117" fmla="*/ 1373 h 2018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74290" h="2018114">
                    <a:moveTo>
                      <a:pt x="307141" y="691642"/>
                    </a:moveTo>
                    <a:lnTo>
                      <a:pt x="1378912" y="691642"/>
                    </a:lnTo>
                    <a:lnTo>
                      <a:pt x="1369387" y="1458335"/>
                    </a:lnTo>
                    <a:cubicBezTo>
                      <a:pt x="1369387" y="1541769"/>
                      <a:pt x="1301750" y="1609406"/>
                      <a:pt x="1218316" y="1609406"/>
                    </a:cubicBezTo>
                    <a:lnTo>
                      <a:pt x="1158892" y="1609406"/>
                    </a:lnTo>
                    <a:lnTo>
                      <a:pt x="1158892" y="1898352"/>
                    </a:lnTo>
                    <a:cubicBezTo>
                      <a:pt x="1158892" y="1964495"/>
                      <a:pt x="1105273" y="2018114"/>
                      <a:pt x="1039130" y="2018114"/>
                    </a:cubicBezTo>
                    <a:cubicBezTo>
                      <a:pt x="972987" y="2018114"/>
                      <a:pt x="919368" y="1964495"/>
                      <a:pt x="919368" y="1898352"/>
                    </a:cubicBezTo>
                    <a:lnTo>
                      <a:pt x="919368" y="1609406"/>
                    </a:lnTo>
                    <a:lnTo>
                      <a:pt x="765901" y="1609406"/>
                    </a:lnTo>
                    <a:lnTo>
                      <a:pt x="765901" y="1898351"/>
                    </a:lnTo>
                    <a:cubicBezTo>
                      <a:pt x="765901" y="1964494"/>
                      <a:pt x="712282" y="2018113"/>
                      <a:pt x="646139" y="2018113"/>
                    </a:cubicBezTo>
                    <a:cubicBezTo>
                      <a:pt x="579996" y="2018113"/>
                      <a:pt x="526377" y="1964494"/>
                      <a:pt x="526377" y="1898351"/>
                    </a:cubicBezTo>
                    <a:lnTo>
                      <a:pt x="526377" y="1609406"/>
                    </a:lnTo>
                    <a:lnTo>
                      <a:pt x="458213" y="1609406"/>
                    </a:lnTo>
                    <a:cubicBezTo>
                      <a:pt x="374779" y="1609406"/>
                      <a:pt x="307141" y="1541769"/>
                      <a:pt x="307141" y="1458335"/>
                    </a:cubicBezTo>
                    <a:lnTo>
                      <a:pt x="307141" y="1156202"/>
                    </a:lnTo>
                    <a:lnTo>
                      <a:pt x="307141" y="854070"/>
                    </a:lnTo>
                    <a:lnTo>
                      <a:pt x="307141" y="691642"/>
                    </a:lnTo>
                    <a:close/>
                    <a:moveTo>
                      <a:pt x="1554528" y="683951"/>
                    </a:moveTo>
                    <a:cubicBezTo>
                      <a:pt x="1620671" y="683951"/>
                      <a:pt x="1674290" y="737570"/>
                      <a:pt x="1674290" y="803713"/>
                    </a:cubicBezTo>
                    <a:lnTo>
                      <a:pt x="1674290" y="1299148"/>
                    </a:lnTo>
                    <a:cubicBezTo>
                      <a:pt x="1674290" y="1365291"/>
                      <a:pt x="1620671" y="1418910"/>
                      <a:pt x="1554528" y="1418910"/>
                    </a:cubicBezTo>
                    <a:cubicBezTo>
                      <a:pt x="1488385" y="1418910"/>
                      <a:pt x="1434766" y="1365291"/>
                      <a:pt x="1434766" y="1299148"/>
                    </a:cubicBezTo>
                    <a:lnTo>
                      <a:pt x="1434766" y="803713"/>
                    </a:lnTo>
                    <a:cubicBezTo>
                      <a:pt x="1434766" y="737570"/>
                      <a:pt x="1488385" y="683951"/>
                      <a:pt x="1554528" y="683951"/>
                    </a:cubicBezTo>
                    <a:close/>
                    <a:moveTo>
                      <a:pt x="119762" y="683950"/>
                    </a:moveTo>
                    <a:cubicBezTo>
                      <a:pt x="185905" y="683950"/>
                      <a:pt x="239524" y="737569"/>
                      <a:pt x="239524" y="803712"/>
                    </a:cubicBezTo>
                    <a:lnTo>
                      <a:pt x="239524" y="1299147"/>
                    </a:lnTo>
                    <a:cubicBezTo>
                      <a:pt x="239524" y="1365290"/>
                      <a:pt x="185905" y="1418909"/>
                      <a:pt x="119762" y="1418909"/>
                    </a:cubicBezTo>
                    <a:cubicBezTo>
                      <a:pt x="53619" y="1418909"/>
                      <a:pt x="0" y="1365290"/>
                      <a:pt x="0" y="1299147"/>
                    </a:cubicBezTo>
                    <a:lnTo>
                      <a:pt x="0" y="803712"/>
                    </a:lnTo>
                    <a:cubicBezTo>
                      <a:pt x="0" y="737569"/>
                      <a:pt x="53619" y="683950"/>
                      <a:pt x="119762" y="683950"/>
                    </a:cubicBezTo>
                    <a:close/>
                    <a:moveTo>
                      <a:pt x="1058285" y="381191"/>
                    </a:moveTo>
                    <a:cubicBezTo>
                      <a:pt x="1028091" y="381191"/>
                      <a:pt x="1003614" y="405668"/>
                      <a:pt x="1003614" y="435862"/>
                    </a:cubicBezTo>
                    <a:cubicBezTo>
                      <a:pt x="1003614" y="466056"/>
                      <a:pt x="1028091" y="490533"/>
                      <a:pt x="1058285" y="490533"/>
                    </a:cubicBezTo>
                    <a:cubicBezTo>
                      <a:pt x="1088479" y="490533"/>
                      <a:pt x="1112956" y="466056"/>
                      <a:pt x="1112956" y="435862"/>
                    </a:cubicBezTo>
                    <a:cubicBezTo>
                      <a:pt x="1112956" y="405668"/>
                      <a:pt x="1088479" y="381191"/>
                      <a:pt x="1058285" y="381191"/>
                    </a:cubicBezTo>
                    <a:close/>
                    <a:moveTo>
                      <a:pt x="620445" y="381191"/>
                    </a:moveTo>
                    <a:cubicBezTo>
                      <a:pt x="590251" y="381191"/>
                      <a:pt x="565774" y="405668"/>
                      <a:pt x="565774" y="435862"/>
                    </a:cubicBezTo>
                    <a:cubicBezTo>
                      <a:pt x="565774" y="466056"/>
                      <a:pt x="590251" y="490533"/>
                      <a:pt x="620445" y="490533"/>
                    </a:cubicBezTo>
                    <a:cubicBezTo>
                      <a:pt x="650639" y="490533"/>
                      <a:pt x="675116" y="466056"/>
                      <a:pt x="675116" y="435862"/>
                    </a:cubicBezTo>
                    <a:cubicBezTo>
                      <a:pt x="675116" y="405668"/>
                      <a:pt x="650639" y="381191"/>
                      <a:pt x="620445" y="381191"/>
                    </a:cubicBezTo>
                    <a:close/>
                    <a:moveTo>
                      <a:pt x="508384" y="1373"/>
                    </a:moveTo>
                    <a:cubicBezTo>
                      <a:pt x="515956" y="3701"/>
                      <a:pt x="522639" y="8917"/>
                      <a:pt x="526639" y="16470"/>
                    </a:cubicBezTo>
                    <a:lnTo>
                      <a:pt x="615978" y="185144"/>
                    </a:lnTo>
                    <a:cubicBezTo>
                      <a:pt x="687009" y="148129"/>
                      <a:pt x="767930" y="128483"/>
                      <a:pt x="853439" y="128483"/>
                    </a:cubicBezTo>
                    <a:cubicBezTo>
                      <a:pt x="932860" y="128483"/>
                      <a:pt x="1008322" y="145431"/>
                      <a:pt x="1075718" y="177325"/>
                    </a:cubicBezTo>
                    <a:lnTo>
                      <a:pt x="1150798" y="40824"/>
                    </a:lnTo>
                    <a:cubicBezTo>
                      <a:pt x="1154917" y="33335"/>
                      <a:pt x="1161682" y="28224"/>
                      <a:pt x="1169289" y="26016"/>
                    </a:cubicBezTo>
                    <a:cubicBezTo>
                      <a:pt x="1176896" y="23808"/>
                      <a:pt x="1185346" y="24501"/>
                      <a:pt x="1192835" y="28621"/>
                    </a:cubicBezTo>
                    <a:cubicBezTo>
                      <a:pt x="1207813" y="36859"/>
                      <a:pt x="1213277" y="55680"/>
                      <a:pt x="1205038" y="70658"/>
                    </a:cubicBezTo>
                    <a:lnTo>
                      <a:pt x="1130773" y="205677"/>
                    </a:lnTo>
                    <a:cubicBezTo>
                      <a:pt x="1280708" y="293097"/>
                      <a:pt x="1383706" y="450928"/>
                      <a:pt x="1395615" y="633899"/>
                    </a:cubicBezTo>
                    <a:lnTo>
                      <a:pt x="311263" y="633899"/>
                    </a:lnTo>
                    <a:cubicBezTo>
                      <a:pt x="322782" y="456918"/>
                      <a:pt x="419524" y="303459"/>
                      <a:pt x="560939" y="213488"/>
                    </a:cubicBezTo>
                    <a:lnTo>
                      <a:pt x="471935" y="45445"/>
                    </a:lnTo>
                    <a:cubicBezTo>
                      <a:pt x="463934" y="30339"/>
                      <a:pt x="469694" y="11606"/>
                      <a:pt x="484800" y="3605"/>
                    </a:cubicBezTo>
                    <a:cubicBezTo>
                      <a:pt x="492353" y="-395"/>
                      <a:pt x="500812" y="-955"/>
                      <a:pt x="508384" y="1373"/>
                    </a:cubicBezTo>
                    <a:close/>
                  </a:path>
                </a:pathLst>
              </a:custGeom>
              <a:solidFill>
                <a:srgbClr val="FF6600"/>
              </a:solidFill>
              <a:ln>
                <a:noFill/>
              </a:ln>
              <a:effectLst/>
            </p:spPr>
            <p:txBody>
              <a:bodyPr lIns="109702" tIns="54854" rIns="109702" bIns="54854" anchor="ctr"/>
              <a:lstStyle/>
              <a:p>
                <a:pPr marL="0" marR="0" lvl="0" indent="0" algn="ctr" defTabSz="724388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2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</p:grpSp>
        <p:grpSp>
          <p:nvGrpSpPr>
            <p:cNvPr id="64" name="组合 63"/>
            <p:cNvGrpSpPr/>
            <p:nvPr/>
          </p:nvGrpSpPr>
          <p:grpSpPr>
            <a:xfrm>
              <a:off x="5348714" y="4210745"/>
              <a:ext cx="432000" cy="791521"/>
              <a:chOff x="6451162" y="4227679"/>
              <a:chExt cx="432000" cy="791521"/>
            </a:xfrm>
          </p:grpSpPr>
          <p:sp>
            <p:nvSpPr>
              <p:cNvPr id="88" name="流程图: 过程 87"/>
              <p:cNvSpPr/>
              <p:nvPr/>
            </p:nvSpPr>
            <p:spPr>
              <a:xfrm>
                <a:off x="6451162" y="4457600"/>
                <a:ext cx="432000" cy="561600"/>
              </a:xfrm>
              <a:prstGeom prst="flowChartProcess">
                <a:avLst/>
              </a:prstGeom>
              <a:solidFill>
                <a:srgbClr val="FCDED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下载盘点表</a:t>
                </a:r>
                <a:endPara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89" name="安卓 822"/>
              <p:cNvSpPr>
                <a:spLocks/>
              </p:cNvSpPr>
              <p:nvPr/>
            </p:nvSpPr>
            <p:spPr bwMode="auto">
              <a:xfrm>
                <a:off x="6591736" y="4227679"/>
                <a:ext cx="151413" cy="201532"/>
              </a:xfrm>
              <a:custGeom>
                <a:avLst/>
                <a:gdLst>
                  <a:gd name="T0" fmla="*/ 307141 w 1674290"/>
                  <a:gd name="T1" fmla="*/ 691642 h 2018114"/>
                  <a:gd name="T2" fmla="*/ 1378912 w 1674290"/>
                  <a:gd name="T3" fmla="*/ 691642 h 2018114"/>
                  <a:gd name="T4" fmla="*/ 1369387 w 1674290"/>
                  <a:gd name="T5" fmla="*/ 1458335 h 2018114"/>
                  <a:gd name="T6" fmla="*/ 1218316 w 1674290"/>
                  <a:gd name="T7" fmla="*/ 1609406 h 2018114"/>
                  <a:gd name="T8" fmla="*/ 1158892 w 1674290"/>
                  <a:gd name="T9" fmla="*/ 1609406 h 2018114"/>
                  <a:gd name="T10" fmla="*/ 1158892 w 1674290"/>
                  <a:gd name="T11" fmla="*/ 1898352 h 2018114"/>
                  <a:gd name="T12" fmla="*/ 1039130 w 1674290"/>
                  <a:gd name="T13" fmla="*/ 2018114 h 2018114"/>
                  <a:gd name="T14" fmla="*/ 919368 w 1674290"/>
                  <a:gd name="T15" fmla="*/ 1898352 h 2018114"/>
                  <a:gd name="T16" fmla="*/ 919368 w 1674290"/>
                  <a:gd name="T17" fmla="*/ 1609406 h 2018114"/>
                  <a:gd name="T18" fmla="*/ 765901 w 1674290"/>
                  <a:gd name="T19" fmla="*/ 1609406 h 2018114"/>
                  <a:gd name="T20" fmla="*/ 765901 w 1674290"/>
                  <a:gd name="T21" fmla="*/ 1898351 h 2018114"/>
                  <a:gd name="T22" fmla="*/ 646139 w 1674290"/>
                  <a:gd name="T23" fmla="*/ 2018113 h 2018114"/>
                  <a:gd name="T24" fmla="*/ 526377 w 1674290"/>
                  <a:gd name="T25" fmla="*/ 1898351 h 2018114"/>
                  <a:gd name="T26" fmla="*/ 526377 w 1674290"/>
                  <a:gd name="T27" fmla="*/ 1609406 h 2018114"/>
                  <a:gd name="T28" fmla="*/ 458213 w 1674290"/>
                  <a:gd name="T29" fmla="*/ 1609406 h 2018114"/>
                  <a:gd name="T30" fmla="*/ 307141 w 1674290"/>
                  <a:gd name="T31" fmla="*/ 1458335 h 2018114"/>
                  <a:gd name="T32" fmla="*/ 307141 w 1674290"/>
                  <a:gd name="T33" fmla="*/ 1156202 h 2018114"/>
                  <a:gd name="T34" fmla="*/ 307141 w 1674290"/>
                  <a:gd name="T35" fmla="*/ 854070 h 2018114"/>
                  <a:gd name="T36" fmla="*/ 307141 w 1674290"/>
                  <a:gd name="T37" fmla="*/ 691642 h 2018114"/>
                  <a:gd name="T38" fmla="*/ 1554528 w 1674290"/>
                  <a:gd name="T39" fmla="*/ 683951 h 2018114"/>
                  <a:gd name="T40" fmla="*/ 1674290 w 1674290"/>
                  <a:gd name="T41" fmla="*/ 803713 h 2018114"/>
                  <a:gd name="T42" fmla="*/ 1674290 w 1674290"/>
                  <a:gd name="T43" fmla="*/ 1299148 h 2018114"/>
                  <a:gd name="T44" fmla="*/ 1554528 w 1674290"/>
                  <a:gd name="T45" fmla="*/ 1418910 h 2018114"/>
                  <a:gd name="T46" fmla="*/ 1434766 w 1674290"/>
                  <a:gd name="T47" fmla="*/ 1299148 h 2018114"/>
                  <a:gd name="T48" fmla="*/ 1434766 w 1674290"/>
                  <a:gd name="T49" fmla="*/ 803713 h 2018114"/>
                  <a:gd name="T50" fmla="*/ 1554528 w 1674290"/>
                  <a:gd name="T51" fmla="*/ 683951 h 2018114"/>
                  <a:gd name="T52" fmla="*/ 119762 w 1674290"/>
                  <a:gd name="T53" fmla="*/ 683950 h 2018114"/>
                  <a:gd name="T54" fmla="*/ 239524 w 1674290"/>
                  <a:gd name="T55" fmla="*/ 803712 h 2018114"/>
                  <a:gd name="T56" fmla="*/ 239524 w 1674290"/>
                  <a:gd name="T57" fmla="*/ 1299147 h 2018114"/>
                  <a:gd name="T58" fmla="*/ 119762 w 1674290"/>
                  <a:gd name="T59" fmla="*/ 1418909 h 2018114"/>
                  <a:gd name="T60" fmla="*/ 0 w 1674290"/>
                  <a:gd name="T61" fmla="*/ 1299147 h 2018114"/>
                  <a:gd name="T62" fmla="*/ 0 w 1674290"/>
                  <a:gd name="T63" fmla="*/ 803712 h 2018114"/>
                  <a:gd name="T64" fmla="*/ 119762 w 1674290"/>
                  <a:gd name="T65" fmla="*/ 683950 h 2018114"/>
                  <a:gd name="T66" fmla="*/ 1058285 w 1674290"/>
                  <a:gd name="T67" fmla="*/ 381191 h 2018114"/>
                  <a:gd name="T68" fmla="*/ 1003614 w 1674290"/>
                  <a:gd name="T69" fmla="*/ 435862 h 2018114"/>
                  <a:gd name="T70" fmla="*/ 1058285 w 1674290"/>
                  <a:gd name="T71" fmla="*/ 490533 h 2018114"/>
                  <a:gd name="T72" fmla="*/ 1112956 w 1674290"/>
                  <a:gd name="T73" fmla="*/ 435862 h 2018114"/>
                  <a:gd name="T74" fmla="*/ 1058285 w 1674290"/>
                  <a:gd name="T75" fmla="*/ 381191 h 2018114"/>
                  <a:gd name="T76" fmla="*/ 620445 w 1674290"/>
                  <a:gd name="T77" fmla="*/ 381191 h 2018114"/>
                  <a:gd name="T78" fmla="*/ 565774 w 1674290"/>
                  <a:gd name="T79" fmla="*/ 435862 h 2018114"/>
                  <a:gd name="T80" fmla="*/ 620445 w 1674290"/>
                  <a:gd name="T81" fmla="*/ 490533 h 2018114"/>
                  <a:gd name="T82" fmla="*/ 675116 w 1674290"/>
                  <a:gd name="T83" fmla="*/ 435862 h 2018114"/>
                  <a:gd name="T84" fmla="*/ 620445 w 1674290"/>
                  <a:gd name="T85" fmla="*/ 381191 h 2018114"/>
                  <a:gd name="T86" fmla="*/ 508384 w 1674290"/>
                  <a:gd name="T87" fmla="*/ 1373 h 2018114"/>
                  <a:gd name="T88" fmla="*/ 526639 w 1674290"/>
                  <a:gd name="T89" fmla="*/ 16470 h 2018114"/>
                  <a:gd name="T90" fmla="*/ 615978 w 1674290"/>
                  <a:gd name="T91" fmla="*/ 185144 h 2018114"/>
                  <a:gd name="T92" fmla="*/ 853439 w 1674290"/>
                  <a:gd name="T93" fmla="*/ 128483 h 2018114"/>
                  <a:gd name="T94" fmla="*/ 1075718 w 1674290"/>
                  <a:gd name="T95" fmla="*/ 177325 h 2018114"/>
                  <a:gd name="T96" fmla="*/ 1150798 w 1674290"/>
                  <a:gd name="T97" fmla="*/ 40824 h 2018114"/>
                  <a:gd name="T98" fmla="*/ 1169289 w 1674290"/>
                  <a:gd name="T99" fmla="*/ 26016 h 2018114"/>
                  <a:gd name="T100" fmla="*/ 1192835 w 1674290"/>
                  <a:gd name="T101" fmla="*/ 28621 h 2018114"/>
                  <a:gd name="T102" fmla="*/ 1205038 w 1674290"/>
                  <a:gd name="T103" fmla="*/ 70658 h 2018114"/>
                  <a:gd name="T104" fmla="*/ 1130773 w 1674290"/>
                  <a:gd name="T105" fmla="*/ 205677 h 2018114"/>
                  <a:gd name="T106" fmla="*/ 1395615 w 1674290"/>
                  <a:gd name="T107" fmla="*/ 633899 h 2018114"/>
                  <a:gd name="T108" fmla="*/ 311263 w 1674290"/>
                  <a:gd name="T109" fmla="*/ 633899 h 2018114"/>
                  <a:gd name="T110" fmla="*/ 560939 w 1674290"/>
                  <a:gd name="T111" fmla="*/ 213488 h 2018114"/>
                  <a:gd name="T112" fmla="*/ 471935 w 1674290"/>
                  <a:gd name="T113" fmla="*/ 45445 h 2018114"/>
                  <a:gd name="T114" fmla="*/ 484800 w 1674290"/>
                  <a:gd name="T115" fmla="*/ 3605 h 2018114"/>
                  <a:gd name="T116" fmla="*/ 508384 w 1674290"/>
                  <a:gd name="T117" fmla="*/ 1373 h 2018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74290" h="2018114">
                    <a:moveTo>
                      <a:pt x="307141" y="691642"/>
                    </a:moveTo>
                    <a:lnTo>
                      <a:pt x="1378912" y="691642"/>
                    </a:lnTo>
                    <a:lnTo>
                      <a:pt x="1369387" y="1458335"/>
                    </a:lnTo>
                    <a:cubicBezTo>
                      <a:pt x="1369387" y="1541769"/>
                      <a:pt x="1301750" y="1609406"/>
                      <a:pt x="1218316" y="1609406"/>
                    </a:cubicBezTo>
                    <a:lnTo>
                      <a:pt x="1158892" y="1609406"/>
                    </a:lnTo>
                    <a:lnTo>
                      <a:pt x="1158892" y="1898352"/>
                    </a:lnTo>
                    <a:cubicBezTo>
                      <a:pt x="1158892" y="1964495"/>
                      <a:pt x="1105273" y="2018114"/>
                      <a:pt x="1039130" y="2018114"/>
                    </a:cubicBezTo>
                    <a:cubicBezTo>
                      <a:pt x="972987" y="2018114"/>
                      <a:pt x="919368" y="1964495"/>
                      <a:pt x="919368" y="1898352"/>
                    </a:cubicBezTo>
                    <a:lnTo>
                      <a:pt x="919368" y="1609406"/>
                    </a:lnTo>
                    <a:lnTo>
                      <a:pt x="765901" y="1609406"/>
                    </a:lnTo>
                    <a:lnTo>
                      <a:pt x="765901" y="1898351"/>
                    </a:lnTo>
                    <a:cubicBezTo>
                      <a:pt x="765901" y="1964494"/>
                      <a:pt x="712282" y="2018113"/>
                      <a:pt x="646139" y="2018113"/>
                    </a:cubicBezTo>
                    <a:cubicBezTo>
                      <a:pt x="579996" y="2018113"/>
                      <a:pt x="526377" y="1964494"/>
                      <a:pt x="526377" y="1898351"/>
                    </a:cubicBezTo>
                    <a:lnTo>
                      <a:pt x="526377" y="1609406"/>
                    </a:lnTo>
                    <a:lnTo>
                      <a:pt x="458213" y="1609406"/>
                    </a:lnTo>
                    <a:cubicBezTo>
                      <a:pt x="374779" y="1609406"/>
                      <a:pt x="307141" y="1541769"/>
                      <a:pt x="307141" y="1458335"/>
                    </a:cubicBezTo>
                    <a:lnTo>
                      <a:pt x="307141" y="1156202"/>
                    </a:lnTo>
                    <a:lnTo>
                      <a:pt x="307141" y="854070"/>
                    </a:lnTo>
                    <a:lnTo>
                      <a:pt x="307141" y="691642"/>
                    </a:lnTo>
                    <a:close/>
                    <a:moveTo>
                      <a:pt x="1554528" y="683951"/>
                    </a:moveTo>
                    <a:cubicBezTo>
                      <a:pt x="1620671" y="683951"/>
                      <a:pt x="1674290" y="737570"/>
                      <a:pt x="1674290" y="803713"/>
                    </a:cubicBezTo>
                    <a:lnTo>
                      <a:pt x="1674290" y="1299148"/>
                    </a:lnTo>
                    <a:cubicBezTo>
                      <a:pt x="1674290" y="1365291"/>
                      <a:pt x="1620671" y="1418910"/>
                      <a:pt x="1554528" y="1418910"/>
                    </a:cubicBezTo>
                    <a:cubicBezTo>
                      <a:pt x="1488385" y="1418910"/>
                      <a:pt x="1434766" y="1365291"/>
                      <a:pt x="1434766" y="1299148"/>
                    </a:cubicBezTo>
                    <a:lnTo>
                      <a:pt x="1434766" y="803713"/>
                    </a:lnTo>
                    <a:cubicBezTo>
                      <a:pt x="1434766" y="737570"/>
                      <a:pt x="1488385" y="683951"/>
                      <a:pt x="1554528" y="683951"/>
                    </a:cubicBezTo>
                    <a:close/>
                    <a:moveTo>
                      <a:pt x="119762" y="683950"/>
                    </a:moveTo>
                    <a:cubicBezTo>
                      <a:pt x="185905" y="683950"/>
                      <a:pt x="239524" y="737569"/>
                      <a:pt x="239524" y="803712"/>
                    </a:cubicBezTo>
                    <a:lnTo>
                      <a:pt x="239524" y="1299147"/>
                    </a:lnTo>
                    <a:cubicBezTo>
                      <a:pt x="239524" y="1365290"/>
                      <a:pt x="185905" y="1418909"/>
                      <a:pt x="119762" y="1418909"/>
                    </a:cubicBezTo>
                    <a:cubicBezTo>
                      <a:pt x="53619" y="1418909"/>
                      <a:pt x="0" y="1365290"/>
                      <a:pt x="0" y="1299147"/>
                    </a:cubicBezTo>
                    <a:lnTo>
                      <a:pt x="0" y="803712"/>
                    </a:lnTo>
                    <a:cubicBezTo>
                      <a:pt x="0" y="737569"/>
                      <a:pt x="53619" y="683950"/>
                      <a:pt x="119762" y="683950"/>
                    </a:cubicBezTo>
                    <a:close/>
                    <a:moveTo>
                      <a:pt x="1058285" y="381191"/>
                    </a:moveTo>
                    <a:cubicBezTo>
                      <a:pt x="1028091" y="381191"/>
                      <a:pt x="1003614" y="405668"/>
                      <a:pt x="1003614" y="435862"/>
                    </a:cubicBezTo>
                    <a:cubicBezTo>
                      <a:pt x="1003614" y="466056"/>
                      <a:pt x="1028091" y="490533"/>
                      <a:pt x="1058285" y="490533"/>
                    </a:cubicBezTo>
                    <a:cubicBezTo>
                      <a:pt x="1088479" y="490533"/>
                      <a:pt x="1112956" y="466056"/>
                      <a:pt x="1112956" y="435862"/>
                    </a:cubicBezTo>
                    <a:cubicBezTo>
                      <a:pt x="1112956" y="405668"/>
                      <a:pt x="1088479" y="381191"/>
                      <a:pt x="1058285" y="381191"/>
                    </a:cubicBezTo>
                    <a:close/>
                    <a:moveTo>
                      <a:pt x="620445" y="381191"/>
                    </a:moveTo>
                    <a:cubicBezTo>
                      <a:pt x="590251" y="381191"/>
                      <a:pt x="565774" y="405668"/>
                      <a:pt x="565774" y="435862"/>
                    </a:cubicBezTo>
                    <a:cubicBezTo>
                      <a:pt x="565774" y="466056"/>
                      <a:pt x="590251" y="490533"/>
                      <a:pt x="620445" y="490533"/>
                    </a:cubicBezTo>
                    <a:cubicBezTo>
                      <a:pt x="650639" y="490533"/>
                      <a:pt x="675116" y="466056"/>
                      <a:pt x="675116" y="435862"/>
                    </a:cubicBezTo>
                    <a:cubicBezTo>
                      <a:pt x="675116" y="405668"/>
                      <a:pt x="650639" y="381191"/>
                      <a:pt x="620445" y="381191"/>
                    </a:cubicBezTo>
                    <a:close/>
                    <a:moveTo>
                      <a:pt x="508384" y="1373"/>
                    </a:moveTo>
                    <a:cubicBezTo>
                      <a:pt x="515956" y="3701"/>
                      <a:pt x="522639" y="8917"/>
                      <a:pt x="526639" y="16470"/>
                    </a:cubicBezTo>
                    <a:lnTo>
                      <a:pt x="615978" y="185144"/>
                    </a:lnTo>
                    <a:cubicBezTo>
                      <a:pt x="687009" y="148129"/>
                      <a:pt x="767930" y="128483"/>
                      <a:pt x="853439" y="128483"/>
                    </a:cubicBezTo>
                    <a:cubicBezTo>
                      <a:pt x="932860" y="128483"/>
                      <a:pt x="1008322" y="145431"/>
                      <a:pt x="1075718" y="177325"/>
                    </a:cubicBezTo>
                    <a:lnTo>
                      <a:pt x="1150798" y="40824"/>
                    </a:lnTo>
                    <a:cubicBezTo>
                      <a:pt x="1154917" y="33335"/>
                      <a:pt x="1161682" y="28224"/>
                      <a:pt x="1169289" y="26016"/>
                    </a:cubicBezTo>
                    <a:cubicBezTo>
                      <a:pt x="1176896" y="23808"/>
                      <a:pt x="1185346" y="24501"/>
                      <a:pt x="1192835" y="28621"/>
                    </a:cubicBezTo>
                    <a:cubicBezTo>
                      <a:pt x="1207813" y="36859"/>
                      <a:pt x="1213277" y="55680"/>
                      <a:pt x="1205038" y="70658"/>
                    </a:cubicBezTo>
                    <a:lnTo>
                      <a:pt x="1130773" y="205677"/>
                    </a:lnTo>
                    <a:cubicBezTo>
                      <a:pt x="1280708" y="293097"/>
                      <a:pt x="1383706" y="450928"/>
                      <a:pt x="1395615" y="633899"/>
                    </a:cubicBezTo>
                    <a:lnTo>
                      <a:pt x="311263" y="633899"/>
                    </a:lnTo>
                    <a:cubicBezTo>
                      <a:pt x="322782" y="456918"/>
                      <a:pt x="419524" y="303459"/>
                      <a:pt x="560939" y="213488"/>
                    </a:cubicBezTo>
                    <a:lnTo>
                      <a:pt x="471935" y="45445"/>
                    </a:lnTo>
                    <a:cubicBezTo>
                      <a:pt x="463934" y="30339"/>
                      <a:pt x="469694" y="11606"/>
                      <a:pt x="484800" y="3605"/>
                    </a:cubicBezTo>
                    <a:cubicBezTo>
                      <a:pt x="492353" y="-395"/>
                      <a:pt x="500812" y="-955"/>
                      <a:pt x="508384" y="1373"/>
                    </a:cubicBezTo>
                    <a:close/>
                  </a:path>
                </a:pathLst>
              </a:custGeom>
              <a:solidFill>
                <a:srgbClr val="FF6600"/>
              </a:solidFill>
              <a:ln>
                <a:noFill/>
              </a:ln>
              <a:effectLst/>
            </p:spPr>
            <p:txBody>
              <a:bodyPr lIns="109702" tIns="54854" rIns="109702" bIns="54854" anchor="ctr"/>
              <a:lstStyle/>
              <a:p>
                <a:pPr marL="0" marR="0" lvl="0" indent="0" algn="ctr" defTabSz="724388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2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</p:grpSp>
        <p:grpSp>
          <p:nvGrpSpPr>
            <p:cNvPr id="65" name="组合 64"/>
            <p:cNvGrpSpPr/>
            <p:nvPr/>
          </p:nvGrpSpPr>
          <p:grpSpPr>
            <a:xfrm>
              <a:off x="6009662" y="4210745"/>
              <a:ext cx="432000" cy="791521"/>
              <a:chOff x="7203646" y="4227679"/>
              <a:chExt cx="432000" cy="791521"/>
            </a:xfrm>
          </p:grpSpPr>
          <p:sp>
            <p:nvSpPr>
              <p:cNvPr id="86" name="流程图: 过程 85"/>
              <p:cNvSpPr/>
              <p:nvPr/>
            </p:nvSpPr>
            <p:spPr>
              <a:xfrm>
                <a:off x="7203646" y="4457600"/>
                <a:ext cx="432000" cy="561600"/>
              </a:xfrm>
              <a:prstGeom prst="flowChartProcess">
                <a:avLst/>
              </a:prstGeom>
              <a:solidFill>
                <a:srgbClr val="FCDED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登</a:t>
                </a:r>
                <a:r>
                  <a:rPr kumimoji="0" lang="zh-CN" altLang="en-US" sz="900" b="1" i="0" u="none" strike="noStrike" kern="0" cap="none" spc="0" normalizeH="0" baseline="0" noProof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华文楷体" panose="02010600040101010101" pitchFamily="2" charset="-122"/>
                    <a:ea typeface="华文楷体" panose="02010600040101010101" pitchFamily="2" charset="-122"/>
                    <a:cs typeface="+mn-cs"/>
                  </a:rPr>
                  <a:t>录网银</a:t>
                </a:r>
                <a:endParaRPr kumimoji="0" lang="zh-CN" altLang="en-US" sz="9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  <p:sp>
            <p:nvSpPr>
              <p:cNvPr id="87" name="安卓 822"/>
              <p:cNvSpPr>
                <a:spLocks/>
              </p:cNvSpPr>
              <p:nvPr/>
            </p:nvSpPr>
            <p:spPr bwMode="auto">
              <a:xfrm>
                <a:off x="7333471" y="4227679"/>
                <a:ext cx="151413" cy="201532"/>
              </a:xfrm>
              <a:custGeom>
                <a:avLst/>
                <a:gdLst>
                  <a:gd name="T0" fmla="*/ 307141 w 1674290"/>
                  <a:gd name="T1" fmla="*/ 691642 h 2018114"/>
                  <a:gd name="T2" fmla="*/ 1378912 w 1674290"/>
                  <a:gd name="T3" fmla="*/ 691642 h 2018114"/>
                  <a:gd name="T4" fmla="*/ 1369387 w 1674290"/>
                  <a:gd name="T5" fmla="*/ 1458335 h 2018114"/>
                  <a:gd name="T6" fmla="*/ 1218316 w 1674290"/>
                  <a:gd name="T7" fmla="*/ 1609406 h 2018114"/>
                  <a:gd name="T8" fmla="*/ 1158892 w 1674290"/>
                  <a:gd name="T9" fmla="*/ 1609406 h 2018114"/>
                  <a:gd name="T10" fmla="*/ 1158892 w 1674290"/>
                  <a:gd name="T11" fmla="*/ 1898352 h 2018114"/>
                  <a:gd name="T12" fmla="*/ 1039130 w 1674290"/>
                  <a:gd name="T13" fmla="*/ 2018114 h 2018114"/>
                  <a:gd name="T14" fmla="*/ 919368 w 1674290"/>
                  <a:gd name="T15" fmla="*/ 1898352 h 2018114"/>
                  <a:gd name="T16" fmla="*/ 919368 w 1674290"/>
                  <a:gd name="T17" fmla="*/ 1609406 h 2018114"/>
                  <a:gd name="T18" fmla="*/ 765901 w 1674290"/>
                  <a:gd name="T19" fmla="*/ 1609406 h 2018114"/>
                  <a:gd name="T20" fmla="*/ 765901 w 1674290"/>
                  <a:gd name="T21" fmla="*/ 1898351 h 2018114"/>
                  <a:gd name="T22" fmla="*/ 646139 w 1674290"/>
                  <a:gd name="T23" fmla="*/ 2018113 h 2018114"/>
                  <a:gd name="T24" fmla="*/ 526377 w 1674290"/>
                  <a:gd name="T25" fmla="*/ 1898351 h 2018114"/>
                  <a:gd name="T26" fmla="*/ 526377 w 1674290"/>
                  <a:gd name="T27" fmla="*/ 1609406 h 2018114"/>
                  <a:gd name="T28" fmla="*/ 458213 w 1674290"/>
                  <a:gd name="T29" fmla="*/ 1609406 h 2018114"/>
                  <a:gd name="T30" fmla="*/ 307141 w 1674290"/>
                  <a:gd name="T31" fmla="*/ 1458335 h 2018114"/>
                  <a:gd name="T32" fmla="*/ 307141 w 1674290"/>
                  <a:gd name="T33" fmla="*/ 1156202 h 2018114"/>
                  <a:gd name="T34" fmla="*/ 307141 w 1674290"/>
                  <a:gd name="T35" fmla="*/ 854070 h 2018114"/>
                  <a:gd name="T36" fmla="*/ 307141 w 1674290"/>
                  <a:gd name="T37" fmla="*/ 691642 h 2018114"/>
                  <a:gd name="T38" fmla="*/ 1554528 w 1674290"/>
                  <a:gd name="T39" fmla="*/ 683951 h 2018114"/>
                  <a:gd name="T40" fmla="*/ 1674290 w 1674290"/>
                  <a:gd name="T41" fmla="*/ 803713 h 2018114"/>
                  <a:gd name="T42" fmla="*/ 1674290 w 1674290"/>
                  <a:gd name="T43" fmla="*/ 1299148 h 2018114"/>
                  <a:gd name="T44" fmla="*/ 1554528 w 1674290"/>
                  <a:gd name="T45" fmla="*/ 1418910 h 2018114"/>
                  <a:gd name="T46" fmla="*/ 1434766 w 1674290"/>
                  <a:gd name="T47" fmla="*/ 1299148 h 2018114"/>
                  <a:gd name="T48" fmla="*/ 1434766 w 1674290"/>
                  <a:gd name="T49" fmla="*/ 803713 h 2018114"/>
                  <a:gd name="T50" fmla="*/ 1554528 w 1674290"/>
                  <a:gd name="T51" fmla="*/ 683951 h 2018114"/>
                  <a:gd name="T52" fmla="*/ 119762 w 1674290"/>
                  <a:gd name="T53" fmla="*/ 683950 h 2018114"/>
                  <a:gd name="T54" fmla="*/ 239524 w 1674290"/>
                  <a:gd name="T55" fmla="*/ 803712 h 2018114"/>
                  <a:gd name="T56" fmla="*/ 239524 w 1674290"/>
                  <a:gd name="T57" fmla="*/ 1299147 h 2018114"/>
                  <a:gd name="T58" fmla="*/ 119762 w 1674290"/>
                  <a:gd name="T59" fmla="*/ 1418909 h 2018114"/>
                  <a:gd name="T60" fmla="*/ 0 w 1674290"/>
                  <a:gd name="T61" fmla="*/ 1299147 h 2018114"/>
                  <a:gd name="T62" fmla="*/ 0 w 1674290"/>
                  <a:gd name="T63" fmla="*/ 803712 h 2018114"/>
                  <a:gd name="T64" fmla="*/ 119762 w 1674290"/>
                  <a:gd name="T65" fmla="*/ 683950 h 2018114"/>
                  <a:gd name="T66" fmla="*/ 1058285 w 1674290"/>
                  <a:gd name="T67" fmla="*/ 381191 h 2018114"/>
                  <a:gd name="T68" fmla="*/ 1003614 w 1674290"/>
                  <a:gd name="T69" fmla="*/ 435862 h 2018114"/>
                  <a:gd name="T70" fmla="*/ 1058285 w 1674290"/>
                  <a:gd name="T71" fmla="*/ 490533 h 2018114"/>
                  <a:gd name="T72" fmla="*/ 1112956 w 1674290"/>
                  <a:gd name="T73" fmla="*/ 435862 h 2018114"/>
                  <a:gd name="T74" fmla="*/ 1058285 w 1674290"/>
                  <a:gd name="T75" fmla="*/ 381191 h 2018114"/>
                  <a:gd name="T76" fmla="*/ 620445 w 1674290"/>
                  <a:gd name="T77" fmla="*/ 381191 h 2018114"/>
                  <a:gd name="T78" fmla="*/ 565774 w 1674290"/>
                  <a:gd name="T79" fmla="*/ 435862 h 2018114"/>
                  <a:gd name="T80" fmla="*/ 620445 w 1674290"/>
                  <a:gd name="T81" fmla="*/ 490533 h 2018114"/>
                  <a:gd name="T82" fmla="*/ 675116 w 1674290"/>
                  <a:gd name="T83" fmla="*/ 435862 h 2018114"/>
                  <a:gd name="T84" fmla="*/ 620445 w 1674290"/>
                  <a:gd name="T85" fmla="*/ 381191 h 2018114"/>
                  <a:gd name="T86" fmla="*/ 508384 w 1674290"/>
                  <a:gd name="T87" fmla="*/ 1373 h 2018114"/>
                  <a:gd name="T88" fmla="*/ 526639 w 1674290"/>
                  <a:gd name="T89" fmla="*/ 16470 h 2018114"/>
                  <a:gd name="T90" fmla="*/ 615978 w 1674290"/>
                  <a:gd name="T91" fmla="*/ 185144 h 2018114"/>
                  <a:gd name="T92" fmla="*/ 853439 w 1674290"/>
                  <a:gd name="T93" fmla="*/ 128483 h 2018114"/>
                  <a:gd name="T94" fmla="*/ 1075718 w 1674290"/>
                  <a:gd name="T95" fmla="*/ 177325 h 2018114"/>
                  <a:gd name="T96" fmla="*/ 1150798 w 1674290"/>
                  <a:gd name="T97" fmla="*/ 40824 h 2018114"/>
                  <a:gd name="T98" fmla="*/ 1169289 w 1674290"/>
                  <a:gd name="T99" fmla="*/ 26016 h 2018114"/>
                  <a:gd name="T100" fmla="*/ 1192835 w 1674290"/>
                  <a:gd name="T101" fmla="*/ 28621 h 2018114"/>
                  <a:gd name="T102" fmla="*/ 1205038 w 1674290"/>
                  <a:gd name="T103" fmla="*/ 70658 h 2018114"/>
                  <a:gd name="T104" fmla="*/ 1130773 w 1674290"/>
                  <a:gd name="T105" fmla="*/ 205677 h 2018114"/>
                  <a:gd name="T106" fmla="*/ 1395615 w 1674290"/>
                  <a:gd name="T107" fmla="*/ 633899 h 2018114"/>
                  <a:gd name="T108" fmla="*/ 311263 w 1674290"/>
                  <a:gd name="T109" fmla="*/ 633899 h 2018114"/>
                  <a:gd name="T110" fmla="*/ 560939 w 1674290"/>
                  <a:gd name="T111" fmla="*/ 213488 h 2018114"/>
                  <a:gd name="T112" fmla="*/ 471935 w 1674290"/>
                  <a:gd name="T113" fmla="*/ 45445 h 2018114"/>
                  <a:gd name="T114" fmla="*/ 484800 w 1674290"/>
                  <a:gd name="T115" fmla="*/ 3605 h 2018114"/>
                  <a:gd name="T116" fmla="*/ 508384 w 1674290"/>
                  <a:gd name="T117" fmla="*/ 1373 h 2018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74290" h="2018114">
                    <a:moveTo>
                      <a:pt x="307141" y="691642"/>
                    </a:moveTo>
                    <a:lnTo>
                      <a:pt x="1378912" y="691642"/>
                    </a:lnTo>
                    <a:lnTo>
                      <a:pt x="1369387" y="1458335"/>
                    </a:lnTo>
                    <a:cubicBezTo>
                      <a:pt x="1369387" y="1541769"/>
                      <a:pt x="1301750" y="1609406"/>
                      <a:pt x="1218316" y="1609406"/>
                    </a:cubicBezTo>
                    <a:lnTo>
                      <a:pt x="1158892" y="1609406"/>
                    </a:lnTo>
                    <a:lnTo>
                      <a:pt x="1158892" y="1898352"/>
                    </a:lnTo>
                    <a:cubicBezTo>
                      <a:pt x="1158892" y="1964495"/>
                      <a:pt x="1105273" y="2018114"/>
                      <a:pt x="1039130" y="2018114"/>
                    </a:cubicBezTo>
                    <a:cubicBezTo>
                      <a:pt x="972987" y="2018114"/>
                      <a:pt x="919368" y="1964495"/>
                      <a:pt x="919368" y="1898352"/>
                    </a:cubicBezTo>
                    <a:lnTo>
                      <a:pt x="919368" y="1609406"/>
                    </a:lnTo>
                    <a:lnTo>
                      <a:pt x="765901" y="1609406"/>
                    </a:lnTo>
                    <a:lnTo>
                      <a:pt x="765901" y="1898351"/>
                    </a:lnTo>
                    <a:cubicBezTo>
                      <a:pt x="765901" y="1964494"/>
                      <a:pt x="712282" y="2018113"/>
                      <a:pt x="646139" y="2018113"/>
                    </a:cubicBezTo>
                    <a:cubicBezTo>
                      <a:pt x="579996" y="2018113"/>
                      <a:pt x="526377" y="1964494"/>
                      <a:pt x="526377" y="1898351"/>
                    </a:cubicBezTo>
                    <a:lnTo>
                      <a:pt x="526377" y="1609406"/>
                    </a:lnTo>
                    <a:lnTo>
                      <a:pt x="458213" y="1609406"/>
                    </a:lnTo>
                    <a:cubicBezTo>
                      <a:pt x="374779" y="1609406"/>
                      <a:pt x="307141" y="1541769"/>
                      <a:pt x="307141" y="1458335"/>
                    </a:cubicBezTo>
                    <a:lnTo>
                      <a:pt x="307141" y="1156202"/>
                    </a:lnTo>
                    <a:lnTo>
                      <a:pt x="307141" y="854070"/>
                    </a:lnTo>
                    <a:lnTo>
                      <a:pt x="307141" y="691642"/>
                    </a:lnTo>
                    <a:close/>
                    <a:moveTo>
                      <a:pt x="1554528" y="683951"/>
                    </a:moveTo>
                    <a:cubicBezTo>
                      <a:pt x="1620671" y="683951"/>
                      <a:pt x="1674290" y="737570"/>
                      <a:pt x="1674290" y="803713"/>
                    </a:cubicBezTo>
                    <a:lnTo>
                      <a:pt x="1674290" y="1299148"/>
                    </a:lnTo>
                    <a:cubicBezTo>
                      <a:pt x="1674290" y="1365291"/>
                      <a:pt x="1620671" y="1418910"/>
                      <a:pt x="1554528" y="1418910"/>
                    </a:cubicBezTo>
                    <a:cubicBezTo>
                      <a:pt x="1488385" y="1418910"/>
                      <a:pt x="1434766" y="1365291"/>
                      <a:pt x="1434766" y="1299148"/>
                    </a:cubicBezTo>
                    <a:lnTo>
                      <a:pt x="1434766" y="803713"/>
                    </a:lnTo>
                    <a:cubicBezTo>
                      <a:pt x="1434766" y="737570"/>
                      <a:pt x="1488385" y="683951"/>
                      <a:pt x="1554528" y="683951"/>
                    </a:cubicBezTo>
                    <a:close/>
                    <a:moveTo>
                      <a:pt x="119762" y="683950"/>
                    </a:moveTo>
                    <a:cubicBezTo>
                      <a:pt x="185905" y="683950"/>
                      <a:pt x="239524" y="737569"/>
                      <a:pt x="239524" y="803712"/>
                    </a:cubicBezTo>
                    <a:lnTo>
                      <a:pt x="239524" y="1299147"/>
                    </a:lnTo>
                    <a:cubicBezTo>
                      <a:pt x="239524" y="1365290"/>
                      <a:pt x="185905" y="1418909"/>
                      <a:pt x="119762" y="1418909"/>
                    </a:cubicBezTo>
                    <a:cubicBezTo>
                      <a:pt x="53619" y="1418909"/>
                      <a:pt x="0" y="1365290"/>
                      <a:pt x="0" y="1299147"/>
                    </a:cubicBezTo>
                    <a:lnTo>
                      <a:pt x="0" y="803712"/>
                    </a:lnTo>
                    <a:cubicBezTo>
                      <a:pt x="0" y="737569"/>
                      <a:pt x="53619" y="683950"/>
                      <a:pt x="119762" y="683950"/>
                    </a:cubicBezTo>
                    <a:close/>
                    <a:moveTo>
                      <a:pt x="1058285" y="381191"/>
                    </a:moveTo>
                    <a:cubicBezTo>
                      <a:pt x="1028091" y="381191"/>
                      <a:pt x="1003614" y="405668"/>
                      <a:pt x="1003614" y="435862"/>
                    </a:cubicBezTo>
                    <a:cubicBezTo>
                      <a:pt x="1003614" y="466056"/>
                      <a:pt x="1028091" y="490533"/>
                      <a:pt x="1058285" y="490533"/>
                    </a:cubicBezTo>
                    <a:cubicBezTo>
                      <a:pt x="1088479" y="490533"/>
                      <a:pt x="1112956" y="466056"/>
                      <a:pt x="1112956" y="435862"/>
                    </a:cubicBezTo>
                    <a:cubicBezTo>
                      <a:pt x="1112956" y="405668"/>
                      <a:pt x="1088479" y="381191"/>
                      <a:pt x="1058285" y="381191"/>
                    </a:cubicBezTo>
                    <a:close/>
                    <a:moveTo>
                      <a:pt x="620445" y="381191"/>
                    </a:moveTo>
                    <a:cubicBezTo>
                      <a:pt x="590251" y="381191"/>
                      <a:pt x="565774" y="405668"/>
                      <a:pt x="565774" y="435862"/>
                    </a:cubicBezTo>
                    <a:cubicBezTo>
                      <a:pt x="565774" y="466056"/>
                      <a:pt x="590251" y="490533"/>
                      <a:pt x="620445" y="490533"/>
                    </a:cubicBezTo>
                    <a:cubicBezTo>
                      <a:pt x="650639" y="490533"/>
                      <a:pt x="675116" y="466056"/>
                      <a:pt x="675116" y="435862"/>
                    </a:cubicBezTo>
                    <a:cubicBezTo>
                      <a:pt x="675116" y="405668"/>
                      <a:pt x="650639" y="381191"/>
                      <a:pt x="620445" y="381191"/>
                    </a:cubicBezTo>
                    <a:close/>
                    <a:moveTo>
                      <a:pt x="508384" y="1373"/>
                    </a:moveTo>
                    <a:cubicBezTo>
                      <a:pt x="515956" y="3701"/>
                      <a:pt x="522639" y="8917"/>
                      <a:pt x="526639" y="16470"/>
                    </a:cubicBezTo>
                    <a:lnTo>
                      <a:pt x="615978" y="185144"/>
                    </a:lnTo>
                    <a:cubicBezTo>
                      <a:pt x="687009" y="148129"/>
                      <a:pt x="767930" y="128483"/>
                      <a:pt x="853439" y="128483"/>
                    </a:cubicBezTo>
                    <a:cubicBezTo>
                      <a:pt x="932860" y="128483"/>
                      <a:pt x="1008322" y="145431"/>
                      <a:pt x="1075718" y="177325"/>
                    </a:cubicBezTo>
                    <a:lnTo>
                      <a:pt x="1150798" y="40824"/>
                    </a:lnTo>
                    <a:cubicBezTo>
                      <a:pt x="1154917" y="33335"/>
                      <a:pt x="1161682" y="28224"/>
                      <a:pt x="1169289" y="26016"/>
                    </a:cubicBezTo>
                    <a:cubicBezTo>
                      <a:pt x="1176896" y="23808"/>
                      <a:pt x="1185346" y="24501"/>
                      <a:pt x="1192835" y="28621"/>
                    </a:cubicBezTo>
                    <a:cubicBezTo>
                      <a:pt x="1207813" y="36859"/>
                      <a:pt x="1213277" y="55680"/>
                      <a:pt x="1205038" y="70658"/>
                    </a:cubicBezTo>
                    <a:lnTo>
                      <a:pt x="1130773" y="205677"/>
                    </a:lnTo>
                    <a:cubicBezTo>
                      <a:pt x="1280708" y="293097"/>
                      <a:pt x="1383706" y="450928"/>
                      <a:pt x="1395615" y="633899"/>
                    </a:cubicBezTo>
                    <a:lnTo>
                      <a:pt x="311263" y="633899"/>
                    </a:lnTo>
                    <a:cubicBezTo>
                      <a:pt x="322782" y="456918"/>
                      <a:pt x="419524" y="303459"/>
                      <a:pt x="560939" y="213488"/>
                    </a:cubicBezTo>
                    <a:lnTo>
                      <a:pt x="471935" y="45445"/>
                    </a:lnTo>
                    <a:cubicBezTo>
                      <a:pt x="463934" y="30339"/>
                      <a:pt x="469694" y="11606"/>
                      <a:pt x="484800" y="3605"/>
                    </a:cubicBezTo>
                    <a:cubicBezTo>
                      <a:pt x="492353" y="-395"/>
                      <a:pt x="500812" y="-955"/>
                      <a:pt x="508384" y="1373"/>
                    </a:cubicBezTo>
                    <a:close/>
                  </a:path>
                </a:pathLst>
              </a:custGeom>
              <a:solidFill>
                <a:srgbClr val="FF6600"/>
              </a:solidFill>
              <a:ln>
                <a:noFill/>
              </a:ln>
              <a:effectLst/>
            </p:spPr>
            <p:txBody>
              <a:bodyPr lIns="109702" tIns="54854" rIns="109702" bIns="54854" anchor="ctr"/>
              <a:lstStyle/>
              <a:p>
                <a:pPr marL="0" marR="0" lvl="0" indent="0" algn="ctr" defTabSz="724388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2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endParaRPr>
              </a:p>
            </p:txBody>
          </p:sp>
        </p:grpSp>
        <p:sp>
          <p:nvSpPr>
            <p:cNvPr id="66" name="安卓 822"/>
            <p:cNvSpPr>
              <a:spLocks/>
            </p:cNvSpPr>
            <p:nvPr/>
          </p:nvSpPr>
          <p:spPr bwMode="auto">
            <a:xfrm>
              <a:off x="4555961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67" name="安卓 822"/>
            <p:cNvSpPr>
              <a:spLocks/>
            </p:cNvSpPr>
            <p:nvPr/>
          </p:nvSpPr>
          <p:spPr bwMode="auto">
            <a:xfrm>
              <a:off x="4939960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68" name="安卓 822"/>
            <p:cNvSpPr>
              <a:spLocks/>
            </p:cNvSpPr>
            <p:nvPr/>
          </p:nvSpPr>
          <p:spPr bwMode="auto">
            <a:xfrm>
              <a:off x="5374759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69" name="安卓 822"/>
            <p:cNvSpPr>
              <a:spLocks/>
            </p:cNvSpPr>
            <p:nvPr/>
          </p:nvSpPr>
          <p:spPr bwMode="auto">
            <a:xfrm>
              <a:off x="5829880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0" name="安卓 822"/>
            <p:cNvSpPr>
              <a:spLocks/>
            </p:cNvSpPr>
            <p:nvPr/>
          </p:nvSpPr>
          <p:spPr bwMode="auto">
            <a:xfrm>
              <a:off x="6259597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1" name="矩形 70"/>
            <p:cNvSpPr/>
            <p:nvPr/>
          </p:nvSpPr>
          <p:spPr>
            <a:xfrm>
              <a:off x="4696086" y="3897324"/>
              <a:ext cx="1777175" cy="26742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OCR</a:t>
              </a:r>
              <a:r>
                <a:rPr kumimoji="0" lang="zh-CN" altLang="en-US" sz="11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登</a:t>
              </a:r>
              <a:r>
                <a:rPr kumimoji="0" lang="zh-CN" altLang="en-US" sz="1100" b="1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录，发起盘点</a:t>
              </a:r>
              <a:endParaRPr kumimoji="0" lang="zh-CN" altLang="en-US" sz="11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72" name="直接箭头连接符 71"/>
            <p:cNvCxnSpPr/>
            <p:nvPr/>
          </p:nvCxnSpPr>
          <p:spPr>
            <a:xfrm>
              <a:off x="5218147" y="4601414"/>
              <a:ext cx="14400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3" name="直接箭头连接符 72"/>
            <p:cNvCxnSpPr/>
            <p:nvPr/>
          </p:nvCxnSpPr>
          <p:spPr>
            <a:xfrm>
              <a:off x="5808148" y="4601414"/>
              <a:ext cx="144000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74" name="流程图: 过程 73"/>
            <p:cNvSpPr/>
            <p:nvPr/>
          </p:nvSpPr>
          <p:spPr>
            <a:xfrm>
              <a:off x="5291121" y="5565329"/>
              <a:ext cx="302400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</a:t>
              </a:r>
              <a:endParaRPr kumimoji="0" lang="en-US" altLang="zh-CN" sz="9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证书到期日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5" name="流程图: 过程 74"/>
            <p:cNvSpPr/>
            <p:nvPr/>
          </p:nvSpPr>
          <p:spPr>
            <a:xfrm>
              <a:off x="4899647" y="5565329"/>
              <a:ext cx="235685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保管人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6" name="流程图: 过程 75"/>
            <p:cNvSpPr/>
            <p:nvPr/>
          </p:nvSpPr>
          <p:spPr>
            <a:xfrm>
              <a:off x="4531951" y="5565329"/>
              <a:ext cx="209036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开卡人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7" name="安卓 822"/>
            <p:cNvSpPr>
              <a:spLocks/>
            </p:cNvSpPr>
            <p:nvPr/>
          </p:nvSpPr>
          <p:spPr bwMode="auto">
            <a:xfrm>
              <a:off x="4231217" y="5354810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78" name="流程图: 过程 77"/>
            <p:cNvSpPr/>
            <p:nvPr/>
          </p:nvSpPr>
          <p:spPr>
            <a:xfrm>
              <a:off x="4198868" y="5565329"/>
              <a:ext cx="237694" cy="561600"/>
            </a:xfrm>
            <a:prstGeom prst="flowChartProcess">
              <a:avLst/>
            </a:prstGeom>
            <a:solidFill>
              <a:srgbClr val="FCDED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验证使用地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79" name="直接箭头连接符 78"/>
            <p:cNvCxnSpPr/>
            <p:nvPr/>
          </p:nvCxnSpPr>
          <p:spPr>
            <a:xfrm flipH="1">
              <a:off x="4417764" y="5792251"/>
              <a:ext cx="121284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0" name="流程图: 过程 79"/>
            <p:cNvSpPr/>
            <p:nvPr/>
          </p:nvSpPr>
          <p:spPr>
            <a:xfrm>
              <a:off x="3419497" y="5565105"/>
              <a:ext cx="545669" cy="561599"/>
            </a:xfrm>
            <a:prstGeom prst="flowChartProcess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邮件通知盘点结果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81" name="直接箭头连接符 80"/>
            <p:cNvCxnSpPr/>
            <p:nvPr/>
          </p:nvCxnSpPr>
          <p:spPr>
            <a:xfrm flipH="1">
              <a:off x="3969163" y="5780446"/>
              <a:ext cx="219365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2" name="矩形 81"/>
            <p:cNvSpPr/>
            <p:nvPr/>
          </p:nvSpPr>
          <p:spPr>
            <a:xfrm>
              <a:off x="3910135" y="4173220"/>
              <a:ext cx="665505" cy="902935"/>
            </a:xfrm>
            <a:prstGeom prst="rect">
              <a:avLst/>
            </a:prstGeom>
            <a:noFill/>
            <a:ln w="12700" cap="flat" cmpd="sng" algn="ctr">
              <a:solidFill>
                <a:srgbClr val="B19C7D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83" name="安卓 822"/>
            <p:cNvSpPr>
              <a:spLocks/>
            </p:cNvSpPr>
            <p:nvPr/>
          </p:nvSpPr>
          <p:spPr bwMode="auto">
            <a:xfrm>
              <a:off x="4130161" y="4210745"/>
              <a:ext cx="151413" cy="201532"/>
            </a:xfrm>
            <a:custGeom>
              <a:avLst/>
              <a:gdLst>
                <a:gd name="T0" fmla="*/ 307141 w 1674290"/>
                <a:gd name="T1" fmla="*/ 691642 h 2018114"/>
                <a:gd name="T2" fmla="*/ 1378912 w 1674290"/>
                <a:gd name="T3" fmla="*/ 691642 h 2018114"/>
                <a:gd name="T4" fmla="*/ 1369387 w 1674290"/>
                <a:gd name="T5" fmla="*/ 1458335 h 2018114"/>
                <a:gd name="T6" fmla="*/ 1218316 w 1674290"/>
                <a:gd name="T7" fmla="*/ 1609406 h 2018114"/>
                <a:gd name="T8" fmla="*/ 1158892 w 1674290"/>
                <a:gd name="T9" fmla="*/ 1609406 h 2018114"/>
                <a:gd name="T10" fmla="*/ 1158892 w 1674290"/>
                <a:gd name="T11" fmla="*/ 1898352 h 2018114"/>
                <a:gd name="T12" fmla="*/ 1039130 w 1674290"/>
                <a:gd name="T13" fmla="*/ 2018114 h 2018114"/>
                <a:gd name="T14" fmla="*/ 919368 w 1674290"/>
                <a:gd name="T15" fmla="*/ 1898352 h 2018114"/>
                <a:gd name="T16" fmla="*/ 919368 w 1674290"/>
                <a:gd name="T17" fmla="*/ 1609406 h 2018114"/>
                <a:gd name="T18" fmla="*/ 765901 w 1674290"/>
                <a:gd name="T19" fmla="*/ 1609406 h 2018114"/>
                <a:gd name="T20" fmla="*/ 765901 w 1674290"/>
                <a:gd name="T21" fmla="*/ 1898351 h 2018114"/>
                <a:gd name="T22" fmla="*/ 646139 w 1674290"/>
                <a:gd name="T23" fmla="*/ 2018113 h 2018114"/>
                <a:gd name="T24" fmla="*/ 526377 w 1674290"/>
                <a:gd name="T25" fmla="*/ 1898351 h 2018114"/>
                <a:gd name="T26" fmla="*/ 526377 w 1674290"/>
                <a:gd name="T27" fmla="*/ 1609406 h 2018114"/>
                <a:gd name="T28" fmla="*/ 458213 w 1674290"/>
                <a:gd name="T29" fmla="*/ 1609406 h 2018114"/>
                <a:gd name="T30" fmla="*/ 307141 w 1674290"/>
                <a:gd name="T31" fmla="*/ 1458335 h 2018114"/>
                <a:gd name="T32" fmla="*/ 307141 w 1674290"/>
                <a:gd name="T33" fmla="*/ 1156202 h 2018114"/>
                <a:gd name="T34" fmla="*/ 307141 w 1674290"/>
                <a:gd name="T35" fmla="*/ 854070 h 2018114"/>
                <a:gd name="T36" fmla="*/ 307141 w 1674290"/>
                <a:gd name="T37" fmla="*/ 691642 h 2018114"/>
                <a:gd name="T38" fmla="*/ 1554528 w 1674290"/>
                <a:gd name="T39" fmla="*/ 683951 h 2018114"/>
                <a:gd name="T40" fmla="*/ 1674290 w 1674290"/>
                <a:gd name="T41" fmla="*/ 803713 h 2018114"/>
                <a:gd name="T42" fmla="*/ 1674290 w 1674290"/>
                <a:gd name="T43" fmla="*/ 1299148 h 2018114"/>
                <a:gd name="T44" fmla="*/ 1554528 w 1674290"/>
                <a:gd name="T45" fmla="*/ 1418910 h 2018114"/>
                <a:gd name="T46" fmla="*/ 1434766 w 1674290"/>
                <a:gd name="T47" fmla="*/ 1299148 h 2018114"/>
                <a:gd name="T48" fmla="*/ 1434766 w 1674290"/>
                <a:gd name="T49" fmla="*/ 803713 h 2018114"/>
                <a:gd name="T50" fmla="*/ 1554528 w 1674290"/>
                <a:gd name="T51" fmla="*/ 683951 h 2018114"/>
                <a:gd name="T52" fmla="*/ 119762 w 1674290"/>
                <a:gd name="T53" fmla="*/ 683950 h 2018114"/>
                <a:gd name="T54" fmla="*/ 239524 w 1674290"/>
                <a:gd name="T55" fmla="*/ 803712 h 2018114"/>
                <a:gd name="T56" fmla="*/ 239524 w 1674290"/>
                <a:gd name="T57" fmla="*/ 1299147 h 2018114"/>
                <a:gd name="T58" fmla="*/ 119762 w 1674290"/>
                <a:gd name="T59" fmla="*/ 1418909 h 2018114"/>
                <a:gd name="T60" fmla="*/ 0 w 1674290"/>
                <a:gd name="T61" fmla="*/ 1299147 h 2018114"/>
                <a:gd name="T62" fmla="*/ 0 w 1674290"/>
                <a:gd name="T63" fmla="*/ 803712 h 2018114"/>
                <a:gd name="T64" fmla="*/ 119762 w 1674290"/>
                <a:gd name="T65" fmla="*/ 683950 h 2018114"/>
                <a:gd name="T66" fmla="*/ 1058285 w 1674290"/>
                <a:gd name="T67" fmla="*/ 381191 h 2018114"/>
                <a:gd name="T68" fmla="*/ 1003614 w 1674290"/>
                <a:gd name="T69" fmla="*/ 435862 h 2018114"/>
                <a:gd name="T70" fmla="*/ 1058285 w 1674290"/>
                <a:gd name="T71" fmla="*/ 490533 h 2018114"/>
                <a:gd name="T72" fmla="*/ 1112956 w 1674290"/>
                <a:gd name="T73" fmla="*/ 435862 h 2018114"/>
                <a:gd name="T74" fmla="*/ 1058285 w 1674290"/>
                <a:gd name="T75" fmla="*/ 381191 h 2018114"/>
                <a:gd name="T76" fmla="*/ 620445 w 1674290"/>
                <a:gd name="T77" fmla="*/ 381191 h 2018114"/>
                <a:gd name="T78" fmla="*/ 565774 w 1674290"/>
                <a:gd name="T79" fmla="*/ 435862 h 2018114"/>
                <a:gd name="T80" fmla="*/ 620445 w 1674290"/>
                <a:gd name="T81" fmla="*/ 490533 h 2018114"/>
                <a:gd name="T82" fmla="*/ 675116 w 1674290"/>
                <a:gd name="T83" fmla="*/ 435862 h 2018114"/>
                <a:gd name="T84" fmla="*/ 620445 w 1674290"/>
                <a:gd name="T85" fmla="*/ 381191 h 2018114"/>
                <a:gd name="T86" fmla="*/ 508384 w 1674290"/>
                <a:gd name="T87" fmla="*/ 1373 h 2018114"/>
                <a:gd name="T88" fmla="*/ 526639 w 1674290"/>
                <a:gd name="T89" fmla="*/ 16470 h 2018114"/>
                <a:gd name="T90" fmla="*/ 615978 w 1674290"/>
                <a:gd name="T91" fmla="*/ 185144 h 2018114"/>
                <a:gd name="T92" fmla="*/ 853439 w 1674290"/>
                <a:gd name="T93" fmla="*/ 128483 h 2018114"/>
                <a:gd name="T94" fmla="*/ 1075718 w 1674290"/>
                <a:gd name="T95" fmla="*/ 177325 h 2018114"/>
                <a:gd name="T96" fmla="*/ 1150798 w 1674290"/>
                <a:gd name="T97" fmla="*/ 40824 h 2018114"/>
                <a:gd name="T98" fmla="*/ 1169289 w 1674290"/>
                <a:gd name="T99" fmla="*/ 26016 h 2018114"/>
                <a:gd name="T100" fmla="*/ 1192835 w 1674290"/>
                <a:gd name="T101" fmla="*/ 28621 h 2018114"/>
                <a:gd name="T102" fmla="*/ 1205038 w 1674290"/>
                <a:gd name="T103" fmla="*/ 70658 h 2018114"/>
                <a:gd name="T104" fmla="*/ 1130773 w 1674290"/>
                <a:gd name="T105" fmla="*/ 205677 h 2018114"/>
                <a:gd name="T106" fmla="*/ 1395615 w 1674290"/>
                <a:gd name="T107" fmla="*/ 633899 h 2018114"/>
                <a:gd name="T108" fmla="*/ 311263 w 1674290"/>
                <a:gd name="T109" fmla="*/ 633899 h 2018114"/>
                <a:gd name="T110" fmla="*/ 560939 w 1674290"/>
                <a:gd name="T111" fmla="*/ 213488 h 2018114"/>
                <a:gd name="T112" fmla="*/ 471935 w 1674290"/>
                <a:gd name="T113" fmla="*/ 45445 h 2018114"/>
                <a:gd name="T114" fmla="*/ 484800 w 1674290"/>
                <a:gd name="T115" fmla="*/ 3605 h 2018114"/>
                <a:gd name="T116" fmla="*/ 508384 w 1674290"/>
                <a:gd name="T117" fmla="*/ 1373 h 2018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74290" h="2018114">
                  <a:moveTo>
                    <a:pt x="307141" y="691642"/>
                  </a:moveTo>
                  <a:lnTo>
                    <a:pt x="1378912" y="691642"/>
                  </a:lnTo>
                  <a:lnTo>
                    <a:pt x="1369387" y="1458335"/>
                  </a:lnTo>
                  <a:cubicBezTo>
                    <a:pt x="1369387" y="1541769"/>
                    <a:pt x="1301750" y="1609406"/>
                    <a:pt x="1218316" y="1609406"/>
                  </a:cubicBezTo>
                  <a:lnTo>
                    <a:pt x="1158892" y="1609406"/>
                  </a:lnTo>
                  <a:lnTo>
                    <a:pt x="1158892" y="1898352"/>
                  </a:lnTo>
                  <a:cubicBezTo>
                    <a:pt x="1158892" y="1964495"/>
                    <a:pt x="1105273" y="2018114"/>
                    <a:pt x="1039130" y="2018114"/>
                  </a:cubicBezTo>
                  <a:cubicBezTo>
                    <a:pt x="972987" y="2018114"/>
                    <a:pt x="919368" y="1964495"/>
                    <a:pt x="919368" y="1898352"/>
                  </a:cubicBezTo>
                  <a:lnTo>
                    <a:pt x="919368" y="1609406"/>
                  </a:lnTo>
                  <a:lnTo>
                    <a:pt x="765901" y="1609406"/>
                  </a:lnTo>
                  <a:lnTo>
                    <a:pt x="765901" y="1898351"/>
                  </a:lnTo>
                  <a:cubicBezTo>
                    <a:pt x="765901" y="1964494"/>
                    <a:pt x="712282" y="2018113"/>
                    <a:pt x="646139" y="2018113"/>
                  </a:cubicBezTo>
                  <a:cubicBezTo>
                    <a:pt x="579996" y="2018113"/>
                    <a:pt x="526377" y="1964494"/>
                    <a:pt x="526377" y="1898351"/>
                  </a:cubicBezTo>
                  <a:lnTo>
                    <a:pt x="526377" y="1609406"/>
                  </a:lnTo>
                  <a:lnTo>
                    <a:pt x="458213" y="1609406"/>
                  </a:lnTo>
                  <a:cubicBezTo>
                    <a:pt x="374779" y="1609406"/>
                    <a:pt x="307141" y="1541769"/>
                    <a:pt x="307141" y="1458335"/>
                  </a:cubicBezTo>
                  <a:lnTo>
                    <a:pt x="307141" y="1156202"/>
                  </a:lnTo>
                  <a:lnTo>
                    <a:pt x="307141" y="854070"/>
                  </a:lnTo>
                  <a:lnTo>
                    <a:pt x="307141" y="691642"/>
                  </a:lnTo>
                  <a:close/>
                  <a:moveTo>
                    <a:pt x="1554528" y="683951"/>
                  </a:moveTo>
                  <a:cubicBezTo>
                    <a:pt x="1620671" y="683951"/>
                    <a:pt x="1674290" y="737570"/>
                    <a:pt x="1674290" y="803713"/>
                  </a:cubicBezTo>
                  <a:lnTo>
                    <a:pt x="1674290" y="1299148"/>
                  </a:lnTo>
                  <a:cubicBezTo>
                    <a:pt x="1674290" y="1365291"/>
                    <a:pt x="1620671" y="1418910"/>
                    <a:pt x="1554528" y="1418910"/>
                  </a:cubicBezTo>
                  <a:cubicBezTo>
                    <a:pt x="1488385" y="1418910"/>
                    <a:pt x="1434766" y="1365291"/>
                    <a:pt x="1434766" y="1299148"/>
                  </a:cubicBezTo>
                  <a:lnTo>
                    <a:pt x="1434766" y="803713"/>
                  </a:lnTo>
                  <a:cubicBezTo>
                    <a:pt x="1434766" y="737570"/>
                    <a:pt x="1488385" y="683951"/>
                    <a:pt x="1554528" y="683951"/>
                  </a:cubicBezTo>
                  <a:close/>
                  <a:moveTo>
                    <a:pt x="119762" y="683950"/>
                  </a:moveTo>
                  <a:cubicBezTo>
                    <a:pt x="185905" y="683950"/>
                    <a:pt x="239524" y="737569"/>
                    <a:pt x="239524" y="803712"/>
                  </a:cubicBezTo>
                  <a:lnTo>
                    <a:pt x="239524" y="1299147"/>
                  </a:lnTo>
                  <a:cubicBezTo>
                    <a:pt x="239524" y="1365290"/>
                    <a:pt x="185905" y="1418909"/>
                    <a:pt x="119762" y="1418909"/>
                  </a:cubicBezTo>
                  <a:cubicBezTo>
                    <a:pt x="53619" y="1418909"/>
                    <a:pt x="0" y="1365290"/>
                    <a:pt x="0" y="1299147"/>
                  </a:cubicBezTo>
                  <a:lnTo>
                    <a:pt x="0" y="803712"/>
                  </a:lnTo>
                  <a:cubicBezTo>
                    <a:pt x="0" y="737569"/>
                    <a:pt x="53619" y="683950"/>
                    <a:pt x="119762" y="683950"/>
                  </a:cubicBezTo>
                  <a:close/>
                  <a:moveTo>
                    <a:pt x="1058285" y="381191"/>
                  </a:moveTo>
                  <a:cubicBezTo>
                    <a:pt x="1028091" y="381191"/>
                    <a:pt x="1003614" y="405668"/>
                    <a:pt x="1003614" y="435862"/>
                  </a:cubicBezTo>
                  <a:cubicBezTo>
                    <a:pt x="1003614" y="466056"/>
                    <a:pt x="1028091" y="490533"/>
                    <a:pt x="1058285" y="490533"/>
                  </a:cubicBezTo>
                  <a:cubicBezTo>
                    <a:pt x="1088479" y="490533"/>
                    <a:pt x="1112956" y="466056"/>
                    <a:pt x="1112956" y="435862"/>
                  </a:cubicBezTo>
                  <a:cubicBezTo>
                    <a:pt x="1112956" y="405668"/>
                    <a:pt x="1088479" y="381191"/>
                    <a:pt x="1058285" y="381191"/>
                  </a:cubicBezTo>
                  <a:close/>
                  <a:moveTo>
                    <a:pt x="620445" y="381191"/>
                  </a:moveTo>
                  <a:cubicBezTo>
                    <a:pt x="590251" y="381191"/>
                    <a:pt x="565774" y="405668"/>
                    <a:pt x="565774" y="435862"/>
                  </a:cubicBezTo>
                  <a:cubicBezTo>
                    <a:pt x="565774" y="466056"/>
                    <a:pt x="590251" y="490533"/>
                    <a:pt x="620445" y="490533"/>
                  </a:cubicBezTo>
                  <a:cubicBezTo>
                    <a:pt x="650639" y="490533"/>
                    <a:pt x="675116" y="466056"/>
                    <a:pt x="675116" y="435862"/>
                  </a:cubicBezTo>
                  <a:cubicBezTo>
                    <a:pt x="675116" y="405668"/>
                    <a:pt x="650639" y="381191"/>
                    <a:pt x="620445" y="381191"/>
                  </a:cubicBezTo>
                  <a:close/>
                  <a:moveTo>
                    <a:pt x="508384" y="1373"/>
                  </a:moveTo>
                  <a:cubicBezTo>
                    <a:pt x="515956" y="3701"/>
                    <a:pt x="522639" y="8917"/>
                    <a:pt x="526639" y="16470"/>
                  </a:cubicBezTo>
                  <a:lnTo>
                    <a:pt x="615978" y="185144"/>
                  </a:lnTo>
                  <a:cubicBezTo>
                    <a:pt x="687009" y="148129"/>
                    <a:pt x="767930" y="128483"/>
                    <a:pt x="853439" y="128483"/>
                  </a:cubicBezTo>
                  <a:cubicBezTo>
                    <a:pt x="932860" y="128483"/>
                    <a:pt x="1008322" y="145431"/>
                    <a:pt x="1075718" y="177325"/>
                  </a:cubicBezTo>
                  <a:lnTo>
                    <a:pt x="1150798" y="40824"/>
                  </a:lnTo>
                  <a:cubicBezTo>
                    <a:pt x="1154917" y="33335"/>
                    <a:pt x="1161682" y="28224"/>
                    <a:pt x="1169289" y="26016"/>
                  </a:cubicBezTo>
                  <a:cubicBezTo>
                    <a:pt x="1176896" y="23808"/>
                    <a:pt x="1185346" y="24501"/>
                    <a:pt x="1192835" y="28621"/>
                  </a:cubicBezTo>
                  <a:cubicBezTo>
                    <a:pt x="1207813" y="36859"/>
                    <a:pt x="1213277" y="55680"/>
                    <a:pt x="1205038" y="70658"/>
                  </a:cubicBezTo>
                  <a:lnTo>
                    <a:pt x="1130773" y="205677"/>
                  </a:lnTo>
                  <a:cubicBezTo>
                    <a:pt x="1280708" y="293097"/>
                    <a:pt x="1383706" y="450928"/>
                    <a:pt x="1395615" y="633899"/>
                  </a:cubicBezTo>
                  <a:lnTo>
                    <a:pt x="311263" y="633899"/>
                  </a:lnTo>
                  <a:cubicBezTo>
                    <a:pt x="322782" y="456918"/>
                    <a:pt x="419524" y="303459"/>
                    <a:pt x="560939" y="213488"/>
                  </a:cubicBezTo>
                  <a:lnTo>
                    <a:pt x="471935" y="45445"/>
                  </a:lnTo>
                  <a:cubicBezTo>
                    <a:pt x="463934" y="30339"/>
                    <a:pt x="469694" y="11606"/>
                    <a:pt x="484800" y="3605"/>
                  </a:cubicBezTo>
                  <a:cubicBezTo>
                    <a:pt x="492353" y="-395"/>
                    <a:pt x="500812" y="-955"/>
                    <a:pt x="508384" y="1373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ffectLst/>
          </p:spPr>
          <p:txBody>
            <a:bodyPr lIns="109702" tIns="54854" rIns="109702" bIns="54854" anchor="ctr"/>
            <a:lstStyle/>
            <a:p>
              <a:pPr marL="0" marR="0" lvl="0" indent="0" algn="ctr" defTabSz="724388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32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84" name="流程图: 过程 83"/>
            <p:cNvSpPr/>
            <p:nvPr/>
          </p:nvSpPr>
          <p:spPr>
            <a:xfrm>
              <a:off x="3418688" y="4446038"/>
              <a:ext cx="411197" cy="561599"/>
            </a:xfrm>
            <a:prstGeom prst="flowChartProcess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开始</a:t>
              </a:r>
              <a:endParaRPr kumimoji="0" lang="en-US" altLang="zh-CN" sz="900" b="1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  <a:p>
              <a:pPr marL="0" marR="0" lvl="0" indent="0" algn="ctr" defTabSz="9143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900" b="1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作业</a:t>
              </a:r>
              <a:endParaRPr kumimoji="0" lang="zh-CN" alt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cxnSp>
          <p:nvCxnSpPr>
            <p:cNvPr id="85" name="直接箭头连接符 84"/>
            <p:cNvCxnSpPr/>
            <p:nvPr/>
          </p:nvCxnSpPr>
          <p:spPr>
            <a:xfrm>
              <a:off x="3815263" y="4618345"/>
              <a:ext cx="178513" cy="0"/>
            </a:xfrm>
            <a:prstGeom prst="straightConnector1">
              <a:avLst/>
            </a:prstGeom>
            <a:noFill/>
            <a:ln w="6350" cap="flat" cmpd="sng" algn="ctr">
              <a:solidFill>
                <a:srgbClr val="F25822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92" name="圆角矩形 91"/>
          <p:cNvSpPr/>
          <p:nvPr/>
        </p:nvSpPr>
        <p:spPr>
          <a:xfrm>
            <a:off x="3710405" y="4367877"/>
            <a:ext cx="873409" cy="1659245"/>
          </a:xfrm>
          <a:prstGeom prst="roundRect">
            <a:avLst>
              <a:gd name="adj" fmla="val 4877"/>
            </a:avLst>
          </a:prstGeom>
          <a:solidFill>
            <a:srgbClr val="F25822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3687472" y="4908367"/>
            <a:ext cx="926105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RPA</a:t>
            </a:r>
            <a:r>
              <a:rPr kumimoji="0" lang="zh-CN" altLang="en-US" sz="1200" b="1" i="0" u="none" strike="noStrike" kern="600" cap="none" spc="16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串</a:t>
            </a:r>
            <a:r>
              <a:rPr kumimoji="0" lang="zh-CN" altLang="en-US" sz="1200" b="1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联完成作业</a:t>
            </a:r>
            <a:endParaRPr kumimoji="0" lang="zh-CN" altLang="en-US" sz="1200" b="1" i="0" u="none" strike="noStrike" kern="600" cap="none" spc="160" normalizeH="0" baseline="0" noProof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94" name="直接连接符 93"/>
          <p:cNvCxnSpPr/>
          <p:nvPr/>
        </p:nvCxnSpPr>
        <p:spPr>
          <a:xfrm>
            <a:off x="3716510" y="2479030"/>
            <a:ext cx="4767069" cy="0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右箭头 96"/>
          <p:cNvSpPr/>
          <p:nvPr/>
        </p:nvSpPr>
        <p:spPr>
          <a:xfrm rot="5400000">
            <a:off x="3941589" y="2197968"/>
            <a:ext cx="447614" cy="586406"/>
          </a:xfrm>
          <a:prstGeom prst="rightArrow">
            <a:avLst/>
          </a:prstGeom>
          <a:solidFill>
            <a:srgbClr val="FDE4D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99" name="右箭头 98"/>
          <p:cNvSpPr/>
          <p:nvPr/>
        </p:nvSpPr>
        <p:spPr>
          <a:xfrm rot="5400000">
            <a:off x="3966815" y="3946219"/>
            <a:ext cx="404123" cy="586406"/>
          </a:xfrm>
          <a:prstGeom prst="rightArrow">
            <a:avLst/>
          </a:prstGeom>
          <a:solidFill>
            <a:srgbClr val="FDE4D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0" name="燕尾形 99"/>
          <p:cNvSpPr/>
          <p:nvPr/>
        </p:nvSpPr>
        <p:spPr>
          <a:xfrm>
            <a:off x="8832877" y="756670"/>
            <a:ext cx="3248688" cy="396000"/>
          </a:xfrm>
          <a:prstGeom prst="chevro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应</a:t>
            </a: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用效果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104" name="直接箭头连接符 103"/>
          <p:cNvCxnSpPr/>
          <p:nvPr/>
        </p:nvCxnSpPr>
        <p:spPr>
          <a:xfrm flipV="1">
            <a:off x="10095318" y="5073353"/>
            <a:ext cx="730287" cy="42928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文本框 104"/>
          <p:cNvSpPr txBox="1"/>
          <p:nvPr/>
        </p:nvSpPr>
        <p:spPr>
          <a:xfrm>
            <a:off x="9936737" y="4833689"/>
            <a:ext cx="929937" cy="336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sng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+150%</a:t>
            </a:r>
            <a:endParaRPr kumimoji="0" lang="zh-CN" altLang="en-US" sz="1400" b="1" i="0" u="sng" strike="noStrike" kern="600" cap="none" spc="160" normalizeH="0" baseline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9064412" y="4367877"/>
            <a:ext cx="2712448" cy="335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盘点效能提升</a:t>
            </a:r>
            <a:r>
              <a:rPr kumimoji="0" lang="en-US" altLang="zh-CN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150%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11332506" y="4614304"/>
            <a:ext cx="698675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9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单位：分钟</a:t>
            </a:r>
            <a:r>
              <a:rPr kumimoji="0" lang="en-US" altLang="zh-CN" sz="9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/</a:t>
            </a:r>
            <a:r>
              <a:rPr kumimoji="0" lang="zh-CN" altLang="en-US" sz="9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件</a:t>
            </a:r>
            <a:endParaRPr kumimoji="0" lang="zh-CN" altLang="en-US" sz="900" b="0" i="0" u="none" strike="noStrike" kern="600" cap="none" spc="160" normalizeH="0" baseline="0" noProof="0" dirty="0" smtClean="0">
              <a:ln>
                <a:noFill/>
              </a:ln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cxnSp>
        <p:nvCxnSpPr>
          <p:cNvPr id="110" name="直接连接符 109"/>
          <p:cNvCxnSpPr/>
          <p:nvPr/>
        </p:nvCxnSpPr>
        <p:spPr>
          <a:xfrm>
            <a:off x="3739536" y="4166718"/>
            <a:ext cx="4767069" cy="0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矩形 110"/>
          <p:cNvSpPr/>
          <p:nvPr/>
        </p:nvSpPr>
        <p:spPr>
          <a:xfrm>
            <a:off x="9121636" y="1621391"/>
            <a:ext cx="2712448" cy="335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实物集成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12" name="文本框 273"/>
          <p:cNvSpPr txBox="1"/>
          <p:nvPr/>
        </p:nvSpPr>
        <p:spPr>
          <a:xfrm>
            <a:off x="9427690" y="2261341"/>
            <a:ext cx="22311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网银卡集成率达到</a:t>
            </a:r>
            <a:r>
              <a:rPr kumimoji="0" lang="en-US" altLang="zh-CN" sz="1200" b="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80%</a:t>
            </a: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kern="600" spc="16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kern="600" spc="16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成本节省约</a:t>
            </a:r>
            <a:r>
              <a:rPr lang="en-US" altLang="zh-CN" sz="1200" kern="600" spc="16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200</a:t>
            </a:r>
            <a:r>
              <a:rPr lang="zh-CN" altLang="en-US" sz="1200" kern="600" spc="16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万</a:t>
            </a:r>
            <a:endParaRPr lang="en-US" altLang="zh-CN" sz="1200" kern="600" spc="160" smtClean="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kern="600" spc="160"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kern="600" spc="16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网银卡使用效率提升</a:t>
            </a:r>
            <a:r>
              <a:rPr lang="en-US" altLang="zh-CN" sz="1200" kern="600" spc="160" smtClean="0">
                <a:latin typeface="华文楷体" panose="02010600040101010101" pitchFamily="2" charset="-122"/>
                <a:ea typeface="华文楷体" panose="02010600040101010101" pitchFamily="2" charset="-122"/>
              </a:rPr>
              <a:t>95%</a:t>
            </a:r>
            <a:endParaRPr lang="en-US" altLang="zh-CN" sz="1200" kern="600" spc="160"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7783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标题 1"/>
          <p:cNvSpPr txBox="1">
            <a:spLocks/>
          </p:cNvSpPr>
          <p:nvPr/>
        </p:nvSpPr>
        <p:spPr>
          <a:xfrm>
            <a:off x="483658" y="158735"/>
            <a:ext cx="8102601" cy="49618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zh-CN" altLang="en-US">
                <a:solidFill>
                  <a:srgbClr val="FFFFFF"/>
                </a:solidFill>
                <a:ea typeface="楷体"/>
              </a:rPr>
              <a:t>网银交易任务自动</a:t>
            </a:r>
            <a:r>
              <a:rPr lang="zh-CN" altLang="en-US" smtClean="0">
                <a:solidFill>
                  <a:srgbClr val="FFFFFF"/>
                </a:solidFill>
                <a:ea typeface="楷体"/>
              </a:rPr>
              <a:t>化</a:t>
            </a:r>
            <a:r>
              <a:rPr kumimoji="0" lang="zh-CN" altLang="en-US" sz="2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楷体"/>
                <a:cs typeface="+mj-cs"/>
              </a:rPr>
              <a:t>全流程设计</a:t>
            </a:r>
            <a:endParaRPr kumimoji="0" lang="zh-CN" alt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楷体"/>
              <a:cs typeface="+mj-cs"/>
            </a:endParaRPr>
          </a:p>
        </p:txBody>
      </p:sp>
      <p:sp>
        <p:nvSpPr>
          <p:cNvPr id="240" name="矩形 239"/>
          <p:cNvSpPr/>
          <p:nvPr/>
        </p:nvSpPr>
        <p:spPr>
          <a:xfrm>
            <a:off x="10134600" y="200024"/>
            <a:ext cx="1885950" cy="685801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楷体"/>
              <a:cs typeface="+mn-cs"/>
            </a:endParaRPr>
          </a:p>
        </p:txBody>
      </p:sp>
      <p:sp>
        <p:nvSpPr>
          <p:cNvPr id="88" name="矩形 87"/>
          <p:cNvSpPr/>
          <p:nvPr/>
        </p:nvSpPr>
        <p:spPr>
          <a:xfrm>
            <a:off x="432724" y="1021433"/>
            <a:ext cx="11602258" cy="5401765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89" name="文本框 88"/>
          <p:cNvSpPr txBox="1"/>
          <p:nvPr/>
        </p:nvSpPr>
        <p:spPr>
          <a:xfrm>
            <a:off x="706529" y="1824367"/>
            <a:ext cx="277728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</a:rPr>
              <a:t>资金支付可能存在遗漏、不及时的情况</a:t>
            </a:r>
            <a:endParaRPr kumimoji="0" lang="en-US" altLang="zh-CN" sz="1500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/>
              <a:ea typeface="华文楷体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500" i="0" u="none" strike="noStrike" kern="600" cap="none" spc="160" normalizeH="0" baseline="0" noProof="0" smtClean="0">
              <a:ln>
                <a:noFill/>
              </a:ln>
              <a:effectLst/>
              <a:uLnTx/>
              <a:uFillTx/>
              <a:latin typeface="华文楷体"/>
              <a:ea typeface="华文楷体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i="0" u="none" strike="noStrike" kern="600" cap="none" spc="16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</a:rPr>
              <a:t>灾备期间可能出现人力不足，无法完成交易的情况</a:t>
            </a:r>
            <a:endParaRPr lang="en-US" altLang="zh-CN" sz="1500" kern="600" spc="160">
              <a:latin typeface="华文楷体"/>
              <a:ea typeface="华文楷体"/>
            </a:endParaRPr>
          </a:p>
        </p:txBody>
      </p:sp>
      <p:sp>
        <p:nvSpPr>
          <p:cNvPr id="90" name="五边形 89"/>
          <p:cNvSpPr/>
          <p:nvPr/>
        </p:nvSpPr>
        <p:spPr>
          <a:xfrm>
            <a:off x="534324" y="801219"/>
            <a:ext cx="3012439" cy="396000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</a:t>
            </a: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务背景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91" name="燕尾形 90"/>
          <p:cNvSpPr/>
          <p:nvPr/>
        </p:nvSpPr>
        <p:spPr>
          <a:xfrm>
            <a:off x="3956651" y="799205"/>
            <a:ext cx="4808912" cy="396000"/>
          </a:xfrm>
          <a:prstGeom prst="chevro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业</a:t>
            </a: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务流程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92" name="五边形 91"/>
          <p:cNvSpPr/>
          <p:nvPr/>
        </p:nvSpPr>
        <p:spPr>
          <a:xfrm rot="5400000">
            <a:off x="3271659" y="2476137"/>
            <a:ext cx="1640271" cy="381983"/>
          </a:xfrm>
          <a:prstGeom prst="homePlate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3" name="文本框 92"/>
          <p:cNvSpPr txBox="1"/>
          <p:nvPr/>
        </p:nvSpPr>
        <p:spPr>
          <a:xfrm>
            <a:off x="3882332" y="1856229"/>
            <a:ext cx="381983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kern="600" spc="160" smtClean="0"/>
              <a:t>指令审核</a:t>
            </a:r>
            <a:endParaRPr lang="zh-CN" altLang="en-US" kern="600" spc="160" dirty="0" smtClean="0"/>
          </a:p>
        </p:txBody>
      </p:sp>
      <p:sp>
        <p:nvSpPr>
          <p:cNvPr id="94" name="燕尾形 93"/>
          <p:cNvSpPr/>
          <p:nvPr/>
        </p:nvSpPr>
        <p:spPr>
          <a:xfrm>
            <a:off x="4413323" y="2678689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3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任务分派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5" name="燕尾形 94"/>
          <p:cNvSpPr/>
          <p:nvPr/>
        </p:nvSpPr>
        <p:spPr>
          <a:xfrm>
            <a:off x="4413323" y="3108790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4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工作量登记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6" name="燕尾形 95"/>
          <p:cNvSpPr/>
          <p:nvPr/>
        </p:nvSpPr>
        <p:spPr>
          <a:xfrm>
            <a:off x="4413957" y="1846993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审核交易指令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7" name="燕尾形 96"/>
          <p:cNvSpPr/>
          <p:nvPr/>
        </p:nvSpPr>
        <p:spPr>
          <a:xfrm>
            <a:off x="4413957" y="2263582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1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审核台账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8" name="矩形 97"/>
          <p:cNvSpPr/>
          <p:nvPr/>
        </p:nvSpPr>
        <p:spPr>
          <a:xfrm>
            <a:off x="5525325" y="1858684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审核交易指令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5525325" y="2277952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指令台账信息</a:t>
            </a:r>
          </a:p>
        </p:txBody>
      </p:sp>
      <p:sp>
        <p:nvSpPr>
          <p:cNvPr id="100" name="矩形 99"/>
          <p:cNvSpPr/>
          <p:nvPr/>
        </p:nvSpPr>
        <p:spPr>
          <a:xfrm>
            <a:off x="5524058" y="2683322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根据指令要素确定派工对象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6634793" y="2678689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下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发</a:t>
            </a:r>
            <a:r>
              <a:rPr kumimoji="0" lang="en-US" altLang="zh-CN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SPS</a:t>
            </a: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作业邮件</a:t>
            </a:r>
          </a:p>
        </p:txBody>
      </p:sp>
      <p:sp>
        <p:nvSpPr>
          <p:cNvPr id="102" name="矩形 101"/>
          <p:cNvSpPr/>
          <p:nvPr/>
        </p:nvSpPr>
        <p:spPr>
          <a:xfrm>
            <a:off x="5524058" y="3113111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登记审核作业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量</a:t>
            </a:r>
            <a:endParaRPr kumimoji="0" lang="en-US" altLang="zh-CN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3" name="5-Point Star 44"/>
          <p:cNvSpPr/>
          <p:nvPr/>
        </p:nvSpPr>
        <p:spPr>
          <a:xfrm>
            <a:off x="6394415" y="2369273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4" name="5-Point Star 45"/>
          <p:cNvSpPr/>
          <p:nvPr/>
        </p:nvSpPr>
        <p:spPr>
          <a:xfrm>
            <a:off x="6367900" y="3197291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5" name="5-Point Star 52"/>
          <p:cNvSpPr/>
          <p:nvPr/>
        </p:nvSpPr>
        <p:spPr>
          <a:xfrm>
            <a:off x="6371639" y="277944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6" name="5-Point Star 53"/>
          <p:cNvSpPr/>
          <p:nvPr/>
        </p:nvSpPr>
        <p:spPr>
          <a:xfrm>
            <a:off x="7482374" y="2794979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7" name="5-Point Star 54"/>
          <p:cNvSpPr/>
          <p:nvPr/>
        </p:nvSpPr>
        <p:spPr>
          <a:xfrm>
            <a:off x="5437385" y="1972407"/>
            <a:ext cx="171236" cy="180909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08" name="燕尾形 107"/>
          <p:cNvSpPr/>
          <p:nvPr/>
        </p:nvSpPr>
        <p:spPr>
          <a:xfrm rot="5400000">
            <a:off x="3164580" y="4146154"/>
            <a:ext cx="1838355" cy="381983"/>
          </a:xfrm>
          <a:prstGeom prst="chevron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09" name="文本框 108"/>
          <p:cNvSpPr txBox="1"/>
          <p:nvPr/>
        </p:nvSpPr>
        <p:spPr>
          <a:xfrm>
            <a:off x="3872130" y="3580534"/>
            <a:ext cx="381983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kern="600" spc="160" smtClean="0"/>
              <a:t>交易执行</a:t>
            </a:r>
            <a:endParaRPr lang="zh-CN" altLang="en-US" kern="600" spc="160" dirty="0" smtClean="0"/>
          </a:p>
        </p:txBody>
      </p:sp>
      <p:sp>
        <p:nvSpPr>
          <p:cNvPr id="110" name="燕尾形 109"/>
          <p:cNvSpPr/>
          <p:nvPr/>
        </p:nvSpPr>
        <p:spPr>
          <a:xfrm>
            <a:off x="4413957" y="4354470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3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反馈交易结果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11" name="燕尾形 110"/>
          <p:cNvSpPr/>
          <p:nvPr/>
        </p:nvSpPr>
        <p:spPr>
          <a:xfrm>
            <a:off x="4413957" y="4773738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4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工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作量登记</a:t>
            </a:r>
          </a:p>
        </p:txBody>
      </p:sp>
      <p:sp>
        <p:nvSpPr>
          <p:cNvPr id="112" name="燕尾形 111"/>
          <p:cNvSpPr/>
          <p:nvPr/>
        </p:nvSpPr>
        <p:spPr>
          <a:xfrm>
            <a:off x="4413957" y="3524256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记交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易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台账</a:t>
            </a:r>
          </a:p>
        </p:txBody>
      </p:sp>
      <p:sp>
        <p:nvSpPr>
          <p:cNvPr id="113" name="燕尾形 112"/>
          <p:cNvSpPr/>
          <p:nvPr/>
        </p:nvSpPr>
        <p:spPr>
          <a:xfrm>
            <a:off x="4413323" y="3939363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2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资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金交易</a:t>
            </a:r>
          </a:p>
        </p:txBody>
      </p:sp>
      <p:sp>
        <p:nvSpPr>
          <p:cNvPr id="114" name="矩形 113"/>
          <p:cNvSpPr/>
          <p:nvPr/>
        </p:nvSpPr>
        <p:spPr>
          <a:xfrm>
            <a:off x="5524058" y="3529350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具体交易信息</a:t>
            </a:r>
          </a:p>
        </p:txBody>
      </p:sp>
      <p:sp>
        <p:nvSpPr>
          <p:cNvPr id="115" name="矩形 114"/>
          <p:cNvSpPr/>
          <p:nvPr/>
        </p:nvSpPr>
        <p:spPr>
          <a:xfrm>
            <a:off x="5525325" y="3932259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登</a:t>
            </a: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华文楷体"/>
                <a:cs typeface="+mn-cs"/>
              </a:rPr>
              <a:t>录经办网银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8398499" y="3961535"/>
            <a:ext cx="554212" cy="307522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交易授权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5522400" y="4351527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华文楷体"/>
                <a:cs typeface="+mn-cs"/>
              </a:rPr>
              <a:t>反馈交易完成</a:t>
            </a:r>
          </a:p>
        </p:txBody>
      </p:sp>
      <p:sp>
        <p:nvSpPr>
          <p:cNvPr id="118" name="矩形 117"/>
          <p:cNvSpPr/>
          <p:nvPr/>
        </p:nvSpPr>
        <p:spPr>
          <a:xfrm>
            <a:off x="5525325" y="4773738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登记交易作业量</a:t>
            </a:r>
          </a:p>
        </p:txBody>
      </p:sp>
      <p:sp>
        <p:nvSpPr>
          <p:cNvPr id="119" name="5-Point Star 46"/>
          <p:cNvSpPr/>
          <p:nvPr/>
        </p:nvSpPr>
        <p:spPr>
          <a:xfrm>
            <a:off x="6419576" y="357821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0" name="5-Point Star 47"/>
          <p:cNvSpPr/>
          <p:nvPr/>
        </p:nvSpPr>
        <p:spPr>
          <a:xfrm>
            <a:off x="6370161" y="4438561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1" name="5-Point Star 48"/>
          <p:cNvSpPr/>
          <p:nvPr/>
        </p:nvSpPr>
        <p:spPr>
          <a:xfrm>
            <a:off x="6409794" y="4853629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2" name="5-Point Star 54"/>
          <p:cNvSpPr/>
          <p:nvPr/>
        </p:nvSpPr>
        <p:spPr>
          <a:xfrm>
            <a:off x="6394415" y="3997161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3" name="5-Point Star 54"/>
          <p:cNvSpPr/>
          <p:nvPr/>
        </p:nvSpPr>
        <p:spPr>
          <a:xfrm>
            <a:off x="8823013" y="4005044"/>
            <a:ext cx="171236" cy="180909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4" name="矩形 123"/>
          <p:cNvSpPr/>
          <p:nvPr/>
        </p:nvSpPr>
        <p:spPr>
          <a:xfrm>
            <a:off x="6641653" y="3943063"/>
            <a:ext cx="737286" cy="349196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华文楷体"/>
                <a:cs typeface="+mn-cs"/>
              </a:rPr>
              <a:t>录入信息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25" name="5-Point Star 54"/>
          <p:cNvSpPr/>
          <p:nvPr/>
        </p:nvSpPr>
        <p:spPr>
          <a:xfrm>
            <a:off x="7304699" y="4007965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6" name="矩形 125"/>
          <p:cNvSpPr/>
          <p:nvPr/>
        </p:nvSpPr>
        <p:spPr>
          <a:xfrm>
            <a:off x="7510743" y="3938476"/>
            <a:ext cx="737286" cy="349196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华文楷体"/>
                <a:cs typeface="+mn-cs"/>
              </a:rPr>
              <a:t>复核信息</a:t>
            </a:r>
            <a:endParaRPr kumimoji="0" lang="zh-CN" altLang="en-US" sz="105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27" name="5-Point Star 54"/>
          <p:cNvSpPr/>
          <p:nvPr/>
        </p:nvSpPr>
        <p:spPr>
          <a:xfrm>
            <a:off x="8173789" y="4003378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28" name="燕尾形 127"/>
          <p:cNvSpPr/>
          <p:nvPr/>
        </p:nvSpPr>
        <p:spPr>
          <a:xfrm rot="5400000">
            <a:off x="3538463" y="5568485"/>
            <a:ext cx="1081112" cy="381983"/>
          </a:xfrm>
          <a:prstGeom prst="chevron">
            <a:avLst/>
          </a:prstGeom>
          <a:solidFill>
            <a:srgbClr val="F1592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29" name="文本框 128"/>
          <p:cNvSpPr txBox="1"/>
          <p:nvPr/>
        </p:nvSpPr>
        <p:spPr>
          <a:xfrm>
            <a:off x="3867392" y="5381486"/>
            <a:ext cx="381983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zh-CN" altLang="en-US" kern="600" spc="160" smtClean="0"/>
              <a:t>上报</a:t>
            </a:r>
            <a:endParaRPr lang="zh-CN" altLang="en-US" kern="600" spc="160" dirty="0" smtClean="0"/>
          </a:p>
        </p:txBody>
      </p:sp>
      <p:sp>
        <p:nvSpPr>
          <p:cNvPr id="130" name="燕尾形 129"/>
          <p:cNvSpPr/>
          <p:nvPr/>
        </p:nvSpPr>
        <p:spPr>
          <a:xfrm>
            <a:off x="4413957" y="5256323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3.1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非标交易统计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31" name="燕尾形 130"/>
          <p:cNvSpPr/>
          <p:nvPr/>
        </p:nvSpPr>
        <p:spPr>
          <a:xfrm>
            <a:off x="4406106" y="5738908"/>
            <a:ext cx="980198" cy="360000"/>
          </a:xfrm>
          <a:prstGeom prst="chevron">
            <a:avLst>
              <a:gd name="adj" fmla="val 0"/>
            </a:avLst>
          </a:prstGeom>
          <a:solidFill>
            <a:schemeClr val="bg1">
              <a:lumMod val="85000"/>
              <a:lumOff val="1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3.2  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非标交易量上报</a:t>
            </a:r>
            <a:endParaRPr kumimoji="0" lang="zh-CN" altLang="en-US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5522400" y="5257132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记录详细交易信息</a:t>
            </a:r>
          </a:p>
        </p:txBody>
      </p:sp>
      <p:sp>
        <p:nvSpPr>
          <p:cNvPr id="133" name="矩形 132"/>
          <p:cNvSpPr/>
          <p:nvPr/>
        </p:nvSpPr>
        <p:spPr>
          <a:xfrm>
            <a:off x="5520986" y="5727561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复核信息完整性</a:t>
            </a:r>
          </a:p>
        </p:txBody>
      </p:sp>
      <p:sp>
        <p:nvSpPr>
          <p:cNvPr id="134" name="矩形 133"/>
          <p:cNvSpPr/>
          <p:nvPr/>
        </p:nvSpPr>
        <p:spPr>
          <a:xfrm>
            <a:off x="6634793" y="5727561"/>
            <a:ext cx="984524" cy="360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上报非标交易量信息</a:t>
            </a:r>
          </a:p>
        </p:txBody>
      </p:sp>
      <p:sp>
        <p:nvSpPr>
          <p:cNvPr id="135" name="5-Point Star 49"/>
          <p:cNvSpPr/>
          <p:nvPr/>
        </p:nvSpPr>
        <p:spPr>
          <a:xfrm>
            <a:off x="6396825" y="5366159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36" name="5-Point Star 50"/>
          <p:cNvSpPr/>
          <p:nvPr/>
        </p:nvSpPr>
        <p:spPr>
          <a:xfrm>
            <a:off x="6394415" y="5838016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37" name="5-Point Star 51"/>
          <p:cNvSpPr/>
          <p:nvPr/>
        </p:nvSpPr>
        <p:spPr>
          <a:xfrm>
            <a:off x="7519218" y="5849630"/>
            <a:ext cx="199000" cy="170320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38" name="燕尾形 137"/>
          <p:cNvSpPr/>
          <p:nvPr/>
        </p:nvSpPr>
        <p:spPr>
          <a:xfrm>
            <a:off x="9382002" y="801219"/>
            <a:ext cx="2421722" cy="396000"/>
          </a:xfrm>
          <a:prstGeom prst="chevron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rPr>
              <a:t>实现效果</a:t>
            </a:r>
            <a:endParaRPr kumimoji="0" lang="zh-CN" alt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 panose="02010600040101010101" pitchFamily="2" charset="-122"/>
              <a:ea typeface="华文楷体" panose="02010600040101010101" pitchFamily="2" charset="-122"/>
              <a:cs typeface="+mn-cs"/>
            </a:endParaRPr>
          </a:p>
        </p:txBody>
      </p:sp>
      <p:sp>
        <p:nvSpPr>
          <p:cNvPr id="139" name="矩形 138"/>
          <p:cNvSpPr/>
          <p:nvPr/>
        </p:nvSpPr>
        <p:spPr>
          <a:xfrm>
            <a:off x="9377225" y="2974997"/>
            <a:ext cx="230825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去断点：指令前置归集，过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程全程监控，防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遗漏风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险</a:t>
            </a:r>
            <a:endParaRPr kumimoji="0" lang="en-US" altLang="zh-CN" sz="1100" b="1" i="0" u="none" strike="noStrike" kern="1200" cap="none" spc="0" normalizeH="0" baseline="0" noProof="0" smtClean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altLang="zh-CN" sz="11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华文楷体"/>
              <a:ea typeface="华文楷体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去人工：</a:t>
            </a: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90%+</a:t>
            </a:r>
            <a:r>
              <a:rPr kumimoji="0" lang="zh-CN" altLang="en-US" sz="11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手</a:t>
            </a:r>
            <a:r>
              <a:rPr kumimoji="0" lang="zh-CN" altLang="en-US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工环节消除，防止操作风险，同时作业耗时优化</a:t>
            </a:r>
            <a:r>
              <a:rPr kumimoji="0" lang="en-US" altLang="zh-CN" sz="1100" b="1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华文楷体"/>
                <a:ea typeface="华文楷体"/>
                <a:cs typeface="+mn-cs"/>
              </a:rPr>
              <a:t>45%</a:t>
            </a:r>
          </a:p>
        </p:txBody>
      </p:sp>
      <p:grpSp>
        <p:nvGrpSpPr>
          <p:cNvPr id="140" name="组合 139"/>
          <p:cNvGrpSpPr/>
          <p:nvPr/>
        </p:nvGrpSpPr>
        <p:grpSpPr>
          <a:xfrm>
            <a:off x="9259526" y="4826695"/>
            <a:ext cx="2666674" cy="1573246"/>
            <a:chOff x="9172074" y="1529583"/>
            <a:chExt cx="2098684" cy="2004183"/>
          </a:xfrm>
        </p:grpSpPr>
        <p:graphicFrame>
          <p:nvGraphicFramePr>
            <p:cNvPr id="141" name="图表 140"/>
            <p:cNvGraphicFramePr/>
            <p:nvPr>
              <p:extLst>
                <p:ext uri="{D42A27DB-BD31-4B8C-83A1-F6EECF244321}">
                  <p14:modId xmlns:p14="http://schemas.microsoft.com/office/powerpoint/2010/main" val="1812321086"/>
                </p:ext>
              </p:extLst>
            </p:nvPr>
          </p:nvGraphicFramePr>
          <p:xfrm>
            <a:off x="9172074" y="1529583"/>
            <a:ext cx="2098684" cy="200418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42" name="文本框 141"/>
            <p:cNvSpPr txBox="1"/>
            <p:nvPr/>
          </p:nvSpPr>
          <p:spPr>
            <a:xfrm>
              <a:off x="10022557" y="1930887"/>
              <a:ext cx="967813" cy="28213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105750" marR="0" lvl="0" indent="0" algn="l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1200" cap="none" spc="0" normalizeH="0" baseline="0" noProof="0" smtClean="0">
                  <a:ln>
                    <a:noFill/>
                  </a:ln>
                  <a:effectLst/>
                  <a:uLnTx/>
                  <a:uFillTx/>
                  <a:latin typeface="华文楷体" panose="02010600040101010101" pitchFamily="2" charset="-122"/>
                  <a:ea typeface="华文楷体" panose="02010600040101010101" pitchFamily="2" charset="-122"/>
                  <a:cs typeface="+mn-cs"/>
                </a:rPr>
                <a:t>-45%</a:t>
              </a:r>
              <a:endParaRPr kumimoji="0" lang="en-US" altLang="zh-CN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  <p:sp>
          <p:nvSpPr>
            <p:cNvPr id="143" name="Freeform 12">
              <a:extLst>
                <a:ext uri="{FF2B5EF4-FFF2-40B4-BE49-F238E27FC236}">
                  <a16:creationId xmlns:a16="http://schemas.microsoft.com/office/drawing/2014/main" id="{83ED0FC3-AC7E-4F82-AA8D-90E11333442A}"/>
                </a:ext>
              </a:extLst>
            </p:cNvPr>
            <p:cNvSpPr>
              <a:spLocks/>
            </p:cNvSpPr>
            <p:nvPr/>
          </p:nvSpPr>
          <p:spPr bwMode="gray">
            <a:xfrm rot="2780613">
              <a:off x="9925234" y="2361947"/>
              <a:ext cx="555654" cy="233782"/>
            </a:xfrm>
            <a:custGeom>
              <a:avLst/>
              <a:gdLst/>
              <a:ahLst/>
              <a:cxnLst>
                <a:cxn ang="0">
                  <a:pos x="0" y="774"/>
                </a:cxn>
                <a:cxn ang="0">
                  <a:pos x="2" y="770"/>
                </a:cxn>
                <a:cxn ang="0">
                  <a:pos x="8" y="754"/>
                </a:cxn>
                <a:cxn ang="0">
                  <a:pos x="16" y="730"/>
                </a:cxn>
                <a:cxn ang="0">
                  <a:pos x="32" y="698"/>
                </a:cxn>
                <a:cxn ang="0">
                  <a:pos x="50" y="660"/>
                </a:cxn>
                <a:cxn ang="0">
                  <a:pos x="76" y="618"/>
                </a:cxn>
                <a:cxn ang="0">
                  <a:pos x="106" y="574"/>
                </a:cxn>
                <a:cxn ang="0">
                  <a:pos x="142" y="528"/>
                </a:cxn>
                <a:cxn ang="0">
                  <a:pos x="186" y="482"/>
                </a:cxn>
                <a:cxn ang="0">
                  <a:pos x="236" y="438"/>
                </a:cxn>
                <a:cxn ang="0">
                  <a:pos x="294" y="398"/>
                </a:cxn>
                <a:cxn ang="0">
                  <a:pos x="360" y="360"/>
                </a:cxn>
                <a:cxn ang="0">
                  <a:pos x="426" y="332"/>
                </a:cxn>
                <a:cxn ang="0">
                  <a:pos x="488" y="314"/>
                </a:cxn>
                <a:cxn ang="0">
                  <a:pos x="544" y="304"/>
                </a:cxn>
                <a:cxn ang="0">
                  <a:pos x="594" y="300"/>
                </a:cxn>
                <a:cxn ang="0">
                  <a:pos x="638" y="300"/>
                </a:cxn>
                <a:cxn ang="0">
                  <a:pos x="678" y="304"/>
                </a:cxn>
                <a:cxn ang="0">
                  <a:pos x="710" y="312"/>
                </a:cxn>
                <a:cxn ang="0">
                  <a:pos x="736" y="320"/>
                </a:cxn>
                <a:cxn ang="0">
                  <a:pos x="754" y="326"/>
                </a:cxn>
                <a:cxn ang="0">
                  <a:pos x="766" y="332"/>
                </a:cxn>
                <a:cxn ang="0">
                  <a:pos x="770" y="334"/>
                </a:cxn>
                <a:cxn ang="0">
                  <a:pos x="680" y="476"/>
                </a:cxn>
                <a:cxn ang="0">
                  <a:pos x="982" y="370"/>
                </a:cxn>
                <a:cxn ang="0">
                  <a:pos x="912" y="0"/>
                </a:cxn>
                <a:cxn ang="0">
                  <a:pos x="854" y="150"/>
                </a:cxn>
                <a:cxn ang="0">
                  <a:pos x="850" y="148"/>
                </a:cxn>
                <a:cxn ang="0">
                  <a:pos x="838" y="142"/>
                </a:cxn>
                <a:cxn ang="0">
                  <a:pos x="822" y="134"/>
                </a:cxn>
                <a:cxn ang="0">
                  <a:pos x="798" y="126"/>
                </a:cxn>
                <a:cxn ang="0">
                  <a:pos x="768" y="120"/>
                </a:cxn>
                <a:cxn ang="0">
                  <a:pos x="732" y="114"/>
                </a:cxn>
                <a:cxn ang="0">
                  <a:pos x="692" y="110"/>
                </a:cxn>
                <a:cxn ang="0">
                  <a:pos x="646" y="110"/>
                </a:cxn>
                <a:cxn ang="0">
                  <a:pos x="596" y="116"/>
                </a:cxn>
                <a:cxn ang="0">
                  <a:pos x="540" y="126"/>
                </a:cxn>
                <a:cxn ang="0">
                  <a:pos x="482" y="146"/>
                </a:cxn>
                <a:cxn ang="0">
                  <a:pos x="422" y="172"/>
                </a:cxn>
                <a:cxn ang="0">
                  <a:pos x="356" y="210"/>
                </a:cxn>
                <a:cxn ang="0">
                  <a:pos x="290" y="258"/>
                </a:cxn>
                <a:cxn ang="0">
                  <a:pos x="230" y="310"/>
                </a:cxn>
                <a:cxn ang="0">
                  <a:pos x="178" y="364"/>
                </a:cxn>
                <a:cxn ang="0">
                  <a:pos x="136" y="422"/>
                </a:cxn>
                <a:cxn ang="0">
                  <a:pos x="100" y="480"/>
                </a:cxn>
                <a:cxn ang="0">
                  <a:pos x="72" y="536"/>
                </a:cxn>
                <a:cxn ang="0">
                  <a:pos x="48" y="590"/>
                </a:cxn>
                <a:cxn ang="0">
                  <a:pos x="30" y="640"/>
                </a:cxn>
                <a:cxn ang="0">
                  <a:pos x="18" y="684"/>
                </a:cxn>
                <a:cxn ang="0">
                  <a:pos x="8" y="722"/>
                </a:cxn>
                <a:cxn ang="0">
                  <a:pos x="4" y="750"/>
                </a:cxn>
                <a:cxn ang="0">
                  <a:pos x="0" y="768"/>
                </a:cxn>
                <a:cxn ang="0">
                  <a:pos x="0" y="774"/>
                </a:cxn>
              </a:cxnLst>
              <a:rect l="0" t="0" r="r" b="b"/>
              <a:pathLst>
                <a:path w="982" h="774">
                  <a:moveTo>
                    <a:pt x="0" y="774"/>
                  </a:moveTo>
                  <a:lnTo>
                    <a:pt x="2" y="770"/>
                  </a:lnTo>
                  <a:lnTo>
                    <a:pt x="8" y="754"/>
                  </a:lnTo>
                  <a:lnTo>
                    <a:pt x="16" y="730"/>
                  </a:lnTo>
                  <a:lnTo>
                    <a:pt x="32" y="698"/>
                  </a:lnTo>
                  <a:lnTo>
                    <a:pt x="50" y="660"/>
                  </a:lnTo>
                  <a:lnTo>
                    <a:pt x="76" y="618"/>
                  </a:lnTo>
                  <a:lnTo>
                    <a:pt x="106" y="574"/>
                  </a:lnTo>
                  <a:lnTo>
                    <a:pt x="142" y="528"/>
                  </a:lnTo>
                  <a:lnTo>
                    <a:pt x="186" y="482"/>
                  </a:lnTo>
                  <a:lnTo>
                    <a:pt x="236" y="438"/>
                  </a:lnTo>
                  <a:lnTo>
                    <a:pt x="294" y="398"/>
                  </a:lnTo>
                  <a:lnTo>
                    <a:pt x="360" y="360"/>
                  </a:lnTo>
                  <a:lnTo>
                    <a:pt x="426" y="332"/>
                  </a:lnTo>
                  <a:lnTo>
                    <a:pt x="488" y="314"/>
                  </a:lnTo>
                  <a:lnTo>
                    <a:pt x="544" y="304"/>
                  </a:lnTo>
                  <a:lnTo>
                    <a:pt x="594" y="300"/>
                  </a:lnTo>
                  <a:lnTo>
                    <a:pt x="638" y="300"/>
                  </a:lnTo>
                  <a:lnTo>
                    <a:pt x="678" y="304"/>
                  </a:lnTo>
                  <a:lnTo>
                    <a:pt x="710" y="312"/>
                  </a:lnTo>
                  <a:lnTo>
                    <a:pt x="736" y="320"/>
                  </a:lnTo>
                  <a:lnTo>
                    <a:pt x="754" y="326"/>
                  </a:lnTo>
                  <a:lnTo>
                    <a:pt x="766" y="332"/>
                  </a:lnTo>
                  <a:lnTo>
                    <a:pt x="770" y="334"/>
                  </a:lnTo>
                  <a:lnTo>
                    <a:pt x="680" y="476"/>
                  </a:lnTo>
                  <a:lnTo>
                    <a:pt x="982" y="370"/>
                  </a:lnTo>
                  <a:lnTo>
                    <a:pt x="912" y="0"/>
                  </a:lnTo>
                  <a:lnTo>
                    <a:pt x="854" y="150"/>
                  </a:lnTo>
                  <a:lnTo>
                    <a:pt x="850" y="148"/>
                  </a:lnTo>
                  <a:lnTo>
                    <a:pt x="838" y="142"/>
                  </a:lnTo>
                  <a:lnTo>
                    <a:pt x="822" y="134"/>
                  </a:lnTo>
                  <a:lnTo>
                    <a:pt x="798" y="126"/>
                  </a:lnTo>
                  <a:lnTo>
                    <a:pt x="768" y="120"/>
                  </a:lnTo>
                  <a:lnTo>
                    <a:pt x="732" y="114"/>
                  </a:lnTo>
                  <a:lnTo>
                    <a:pt x="692" y="110"/>
                  </a:lnTo>
                  <a:lnTo>
                    <a:pt x="646" y="110"/>
                  </a:lnTo>
                  <a:lnTo>
                    <a:pt x="596" y="116"/>
                  </a:lnTo>
                  <a:lnTo>
                    <a:pt x="540" y="126"/>
                  </a:lnTo>
                  <a:lnTo>
                    <a:pt x="482" y="146"/>
                  </a:lnTo>
                  <a:lnTo>
                    <a:pt x="422" y="172"/>
                  </a:lnTo>
                  <a:lnTo>
                    <a:pt x="356" y="210"/>
                  </a:lnTo>
                  <a:lnTo>
                    <a:pt x="290" y="258"/>
                  </a:lnTo>
                  <a:lnTo>
                    <a:pt x="230" y="310"/>
                  </a:lnTo>
                  <a:lnTo>
                    <a:pt x="178" y="364"/>
                  </a:lnTo>
                  <a:lnTo>
                    <a:pt x="136" y="422"/>
                  </a:lnTo>
                  <a:lnTo>
                    <a:pt x="100" y="480"/>
                  </a:lnTo>
                  <a:lnTo>
                    <a:pt x="72" y="536"/>
                  </a:lnTo>
                  <a:lnTo>
                    <a:pt x="48" y="590"/>
                  </a:lnTo>
                  <a:lnTo>
                    <a:pt x="30" y="640"/>
                  </a:lnTo>
                  <a:lnTo>
                    <a:pt x="18" y="684"/>
                  </a:lnTo>
                  <a:lnTo>
                    <a:pt x="8" y="722"/>
                  </a:lnTo>
                  <a:lnTo>
                    <a:pt x="4" y="750"/>
                  </a:lnTo>
                  <a:lnTo>
                    <a:pt x="0" y="768"/>
                  </a:lnTo>
                  <a:lnTo>
                    <a:pt x="0" y="77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华文楷体" panose="02010600040101010101" pitchFamily="2" charset="-122"/>
                <a:ea typeface="华文楷体" panose="02010600040101010101" pitchFamily="2" charset="-122"/>
                <a:cs typeface="+mn-cs"/>
              </a:endParaRPr>
            </a:p>
          </p:txBody>
        </p:sp>
      </p:grpSp>
      <p:cxnSp>
        <p:nvCxnSpPr>
          <p:cNvPr id="144" name="直接连接符 143"/>
          <p:cNvCxnSpPr/>
          <p:nvPr/>
        </p:nvCxnSpPr>
        <p:spPr>
          <a:xfrm>
            <a:off x="3648364" y="1197219"/>
            <a:ext cx="0" cy="4944928"/>
          </a:xfrm>
          <a:prstGeom prst="line">
            <a:avLst/>
          </a:prstGeom>
          <a:ln w="19050"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接连接符 144"/>
          <p:cNvCxnSpPr/>
          <p:nvPr/>
        </p:nvCxnSpPr>
        <p:spPr>
          <a:xfrm>
            <a:off x="9082207" y="1245497"/>
            <a:ext cx="0" cy="4944928"/>
          </a:xfrm>
          <a:prstGeom prst="line">
            <a:avLst/>
          </a:prstGeom>
          <a:ln w="19050"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矩形 145"/>
          <p:cNvSpPr/>
          <p:nvPr/>
        </p:nvSpPr>
        <p:spPr>
          <a:xfrm>
            <a:off x="694677" y="4714449"/>
            <a:ext cx="268033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500" kern="600" spc="160" smtClean="0">
                <a:latin typeface="+mn-ea"/>
              </a:rPr>
              <a:t>通过</a:t>
            </a:r>
            <a:r>
              <a:rPr lang="en-US" altLang="zh-CN" sz="1500" kern="600" spc="160" smtClean="0">
                <a:latin typeface="+mn-ea"/>
              </a:rPr>
              <a:t>RPA+</a:t>
            </a:r>
            <a:r>
              <a:rPr lang="zh-CN" altLang="en-US" sz="1500" kern="600" spc="160" smtClean="0">
                <a:latin typeface="+mn-ea"/>
              </a:rPr>
              <a:t>作业平台的串联作业模式，实现系统外网银交易自动化</a:t>
            </a:r>
            <a:endParaRPr lang="zh-CN" altLang="en-US" sz="1500" kern="600" spc="160" dirty="0">
              <a:latin typeface="+mn-ea"/>
            </a:endParaRPr>
          </a:p>
        </p:txBody>
      </p:sp>
      <p:sp>
        <p:nvSpPr>
          <p:cNvPr id="147" name="五边形 146"/>
          <p:cNvSpPr/>
          <p:nvPr/>
        </p:nvSpPr>
        <p:spPr>
          <a:xfrm rot="5400000">
            <a:off x="1960073" y="3299565"/>
            <a:ext cx="315503" cy="1576733"/>
          </a:xfrm>
          <a:prstGeom prst="homePlate">
            <a:avLst>
              <a:gd name="adj" fmla="val 51543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3867392" y="1245497"/>
            <a:ext cx="5085319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kern="600" spc="160">
                <a:latin typeface="+mn-ea"/>
              </a:rPr>
              <a:t>RPA</a:t>
            </a:r>
            <a:r>
              <a:rPr lang="zh-CN" altLang="en-US" sz="1100" kern="600" spc="160" smtClean="0"/>
              <a:t>消</a:t>
            </a:r>
            <a:r>
              <a:rPr lang="zh-CN" altLang="en-US" sz="1100" kern="600" spc="160"/>
              <a:t>除</a:t>
            </a:r>
            <a:r>
              <a:rPr lang="zh-CN" altLang="en-US" sz="1100" b="1" kern="600" spc="160">
                <a:solidFill>
                  <a:srgbClr val="F15922"/>
                </a:solidFill>
              </a:rPr>
              <a:t>台账登记、派工流转和查询、复制采集</a:t>
            </a:r>
            <a:r>
              <a:rPr lang="zh-CN" altLang="en-US" sz="1100" b="1" kern="600" spc="160" smtClean="0">
                <a:solidFill>
                  <a:srgbClr val="F15922"/>
                </a:solidFill>
              </a:rPr>
              <a:t>的动</a:t>
            </a:r>
            <a:r>
              <a:rPr lang="zh-CN" altLang="en-US" sz="1100" b="1" kern="600" spc="160">
                <a:solidFill>
                  <a:srgbClr val="F15922"/>
                </a:solidFill>
              </a:rPr>
              <a:t>作，保留人工审核、判断及兜底环节</a:t>
            </a:r>
            <a:r>
              <a:rPr lang="zh-CN" altLang="en-US" sz="1100" kern="600" spc="160"/>
              <a:t>，实现人机高度协同，实现提效率、控风险</a:t>
            </a:r>
            <a:endParaRPr lang="zh-CN" altLang="en-US" sz="1100" kern="600" spc="160" dirty="0" smtClean="0"/>
          </a:p>
        </p:txBody>
      </p:sp>
      <p:sp>
        <p:nvSpPr>
          <p:cNvPr id="149" name="圆角矩形 148"/>
          <p:cNvSpPr/>
          <p:nvPr/>
        </p:nvSpPr>
        <p:spPr>
          <a:xfrm>
            <a:off x="10205552" y="4798734"/>
            <a:ext cx="776153" cy="2801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smtClean="0">
                <a:solidFill>
                  <a:schemeClr val="tx1"/>
                </a:solidFill>
              </a:rPr>
              <a:t>作业耗时</a:t>
            </a:r>
            <a:endParaRPr lang="zh-CN" altLang="en-US" sz="1100" b="1">
              <a:solidFill>
                <a:schemeClr val="tx1"/>
              </a:solidFill>
            </a:endParaRPr>
          </a:p>
        </p:txBody>
      </p:sp>
      <p:sp>
        <p:nvSpPr>
          <p:cNvPr id="150" name="文本框 149"/>
          <p:cNvSpPr txBox="1"/>
          <p:nvPr/>
        </p:nvSpPr>
        <p:spPr>
          <a:xfrm>
            <a:off x="9225756" y="1990092"/>
            <a:ext cx="141741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b="1" kern="600" spc="160" smtClean="0">
                <a:latin typeface="+mn-ea"/>
              </a:rPr>
              <a:t>1</a:t>
            </a:r>
            <a:r>
              <a:rPr lang="zh-CN" altLang="en-US" sz="1100" b="1" kern="600" spc="160" smtClean="0">
                <a:latin typeface="+mn-ea"/>
              </a:rPr>
              <a:t>、指令防重防漏</a:t>
            </a:r>
            <a:endParaRPr lang="en-US" altLang="zh-CN" sz="1100" b="1" kern="600" spc="160" smtClean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kern="600" spc="160" smtClean="0">
                <a:latin typeface="+mn-ea"/>
              </a:rPr>
              <a:t>3</a:t>
            </a:r>
            <a:r>
              <a:rPr lang="zh-CN" altLang="en-US" sz="1100" b="1" kern="600" spc="160" smtClean="0">
                <a:latin typeface="+mn-ea"/>
              </a:rPr>
              <a:t>、登录异常控制</a:t>
            </a:r>
            <a:endParaRPr lang="en-US" altLang="zh-CN" sz="1100" b="1" kern="600" spc="160" smtClean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kern="600" spc="160" smtClean="0">
                <a:latin typeface="+mn-ea"/>
              </a:rPr>
              <a:t>5</a:t>
            </a:r>
            <a:r>
              <a:rPr lang="zh-CN" altLang="en-US" sz="1100" b="1" kern="600" spc="160" smtClean="0">
                <a:latin typeface="+mn-ea"/>
              </a:rPr>
              <a:t>、主管信息审批</a:t>
            </a:r>
            <a:endParaRPr lang="zh-CN" altLang="en-US" sz="1100" b="1" kern="600" spc="160" dirty="0" smtClean="0">
              <a:latin typeface="+mn-ea"/>
            </a:endParaRPr>
          </a:p>
        </p:txBody>
      </p:sp>
      <p:sp>
        <p:nvSpPr>
          <p:cNvPr id="151" name="文本框 150"/>
          <p:cNvSpPr txBox="1"/>
          <p:nvPr/>
        </p:nvSpPr>
        <p:spPr>
          <a:xfrm>
            <a:off x="10551901" y="1990092"/>
            <a:ext cx="1417412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b="1" kern="600" spc="160">
                <a:latin typeface="+mn-ea"/>
              </a:rPr>
              <a:t>2</a:t>
            </a:r>
            <a:r>
              <a:rPr lang="zh-CN" altLang="en-US" sz="1100" b="1" kern="600" spc="160" smtClean="0">
                <a:latin typeface="+mn-ea"/>
              </a:rPr>
              <a:t>、任务风险分层</a:t>
            </a:r>
            <a:endParaRPr lang="en-US" altLang="zh-CN" sz="1100" b="1" kern="600" spc="160" smtClean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kern="600" spc="160" smtClean="0">
                <a:latin typeface="+mn-ea"/>
              </a:rPr>
              <a:t>4</a:t>
            </a:r>
            <a:r>
              <a:rPr lang="zh-CN" altLang="en-US" sz="1100" b="1" kern="600" spc="160" smtClean="0">
                <a:latin typeface="+mn-ea"/>
              </a:rPr>
              <a:t>、支付信息核查</a:t>
            </a:r>
            <a:endParaRPr lang="en-US" altLang="zh-CN" sz="1100" b="1" kern="600" spc="160" smtClean="0"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en-US" altLang="zh-CN" sz="1100" b="1" kern="600" spc="160" smtClean="0">
                <a:latin typeface="+mn-ea"/>
              </a:rPr>
              <a:t>6</a:t>
            </a:r>
            <a:r>
              <a:rPr lang="zh-CN" altLang="en-US" sz="1100" b="1" kern="600" spc="160" smtClean="0">
                <a:latin typeface="+mn-ea"/>
              </a:rPr>
              <a:t>、网银权限隔离</a:t>
            </a:r>
            <a:endParaRPr lang="zh-CN" altLang="en-US" sz="1100" b="1" kern="600" spc="160" dirty="0" smtClean="0">
              <a:latin typeface="+mn-ea"/>
            </a:endParaRPr>
          </a:p>
        </p:txBody>
      </p:sp>
      <p:sp>
        <p:nvSpPr>
          <p:cNvPr id="152" name="圆角矩形 151"/>
          <p:cNvSpPr/>
          <p:nvPr/>
        </p:nvSpPr>
        <p:spPr>
          <a:xfrm>
            <a:off x="9921189" y="1522621"/>
            <a:ext cx="1424024" cy="33606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b="1" smtClean="0">
                <a:solidFill>
                  <a:schemeClr val="tx1"/>
                </a:solidFill>
              </a:rPr>
              <a:t>六道管控防风险</a:t>
            </a:r>
            <a:endParaRPr lang="zh-CN" altLang="en-US" sz="1100" b="1">
              <a:solidFill>
                <a:schemeClr val="tx1"/>
              </a:solidFill>
            </a:endParaRPr>
          </a:p>
        </p:txBody>
      </p:sp>
      <p:sp>
        <p:nvSpPr>
          <p:cNvPr id="153" name="五边形 152"/>
          <p:cNvSpPr/>
          <p:nvPr/>
        </p:nvSpPr>
        <p:spPr>
          <a:xfrm rot="5400000">
            <a:off x="10435111" y="2066913"/>
            <a:ext cx="315503" cy="1576733"/>
          </a:xfrm>
          <a:prstGeom prst="homePlate">
            <a:avLst>
              <a:gd name="adj" fmla="val 51543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华文楷体" panose="02010600040101010101" pitchFamily="2" charset="-122"/>
              <a:sym typeface="Arial" panose="020B0604020202020204" pitchFamily="34" charset="0"/>
            </a:endParaRPr>
          </a:p>
        </p:txBody>
      </p:sp>
      <p:sp>
        <p:nvSpPr>
          <p:cNvPr id="154" name="5-Point Star 54"/>
          <p:cNvSpPr/>
          <p:nvPr/>
        </p:nvSpPr>
        <p:spPr>
          <a:xfrm>
            <a:off x="8064056" y="1813125"/>
            <a:ext cx="188572" cy="196486"/>
          </a:xfrm>
          <a:custGeom>
            <a:avLst/>
            <a:gdLst>
              <a:gd name="connsiteX0" fmla="*/ 176656 w 521831"/>
              <a:gd name="connsiteY0" fmla="*/ 380983 h 606439"/>
              <a:gd name="connsiteX1" fmla="*/ 186943 w 521831"/>
              <a:gd name="connsiteY1" fmla="*/ 387521 h 606439"/>
              <a:gd name="connsiteX2" fmla="*/ 260916 w 521831"/>
              <a:gd name="connsiteY2" fmla="*/ 497073 h 606439"/>
              <a:gd name="connsiteX3" fmla="*/ 334888 w 521831"/>
              <a:gd name="connsiteY3" fmla="*/ 387521 h 606439"/>
              <a:gd name="connsiteX4" fmla="*/ 345082 w 521831"/>
              <a:gd name="connsiteY4" fmla="*/ 380983 h 606439"/>
              <a:gd name="connsiteX5" fmla="*/ 350786 w 521831"/>
              <a:gd name="connsiteY5" fmla="*/ 382571 h 606439"/>
              <a:gd name="connsiteX6" fmla="*/ 416530 w 521831"/>
              <a:gd name="connsiteY6" fmla="*/ 416286 h 606439"/>
              <a:gd name="connsiteX7" fmla="*/ 521831 w 521831"/>
              <a:gd name="connsiteY7" fmla="*/ 487267 h 606439"/>
              <a:gd name="connsiteX8" fmla="*/ 521831 w 521831"/>
              <a:gd name="connsiteY8" fmla="*/ 606439 h 606439"/>
              <a:gd name="connsiteX9" fmla="*/ 260916 w 521831"/>
              <a:gd name="connsiteY9" fmla="*/ 606439 h 606439"/>
              <a:gd name="connsiteX10" fmla="*/ 0 w 521831"/>
              <a:gd name="connsiteY10" fmla="*/ 606439 h 606439"/>
              <a:gd name="connsiteX11" fmla="*/ 0 w 521831"/>
              <a:gd name="connsiteY11" fmla="*/ 487267 h 606439"/>
              <a:gd name="connsiteX12" fmla="*/ 105301 w 521831"/>
              <a:gd name="connsiteY12" fmla="*/ 416286 h 606439"/>
              <a:gd name="connsiteX13" fmla="*/ 170951 w 521831"/>
              <a:gd name="connsiteY13" fmla="*/ 382571 h 606439"/>
              <a:gd name="connsiteX14" fmla="*/ 176656 w 521831"/>
              <a:gd name="connsiteY14" fmla="*/ 380983 h 606439"/>
              <a:gd name="connsiteX15" fmla="*/ 218033 w 521831"/>
              <a:gd name="connsiteY15" fmla="*/ 348240 h 606439"/>
              <a:gd name="connsiteX16" fmla="*/ 220372 w 521831"/>
              <a:gd name="connsiteY16" fmla="*/ 348427 h 606439"/>
              <a:gd name="connsiteX17" fmla="*/ 221027 w 521831"/>
              <a:gd name="connsiteY17" fmla="*/ 348520 h 606439"/>
              <a:gd name="connsiteX18" fmla="*/ 221120 w 521831"/>
              <a:gd name="connsiteY18" fmla="*/ 348613 h 606439"/>
              <a:gd name="connsiteX19" fmla="*/ 222336 w 521831"/>
              <a:gd name="connsiteY19" fmla="*/ 348893 h 606439"/>
              <a:gd name="connsiteX20" fmla="*/ 222898 w 521831"/>
              <a:gd name="connsiteY20" fmla="*/ 349080 h 606439"/>
              <a:gd name="connsiteX21" fmla="*/ 223553 w 521831"/>
              <a:gd name="connsiteY21" fmla="*/ 349266 h 606439"/>
              <a:gd name="connsiteX22" fmla="*/ 227575 w 521831"/>
              <a:gd name="connsiteY22" fmla="*/ 351693 h 606439"/>
              <a:gd name="connsiteX23" fmla="*/ 247783 w 521831"/>
              <a:gd name="connsiteY23" fmla="*/ 367836 h 606439"/>
              <a:gd name="connsiteX24" fmla="*/ 250309 w 521831"/>
              <a:gd name="connsiteY24" fmla="*/ 367929 h 606439"/>
              <a:gd name="connsiteX25" fmla="*/ 260880 w 521831"/>
              <a:gd name="connsiteY25" fmla="*/ 367836 h 606439"/>
              <a:gd name="connsiteX26" fmla="*/ 271358 w 521831"/>
              <a:gd name="connsiteY26" fmla="*/ 367929 h 606439"/>
              <a:gd name="connsiteX27" fmla="*/ 273978 w 521831"/>
              <a:gd name="connsiteY27" fmla="*/ 367836 h 606439"/>
              <a:gd name="connsiteX28" fmla="*/ 294186 w 521831"/>
              <a:gd name="connsiteY28" fmla="*/ 351693 h 606439"/>
              <a:gd name="connsiteX29" fmla="*/ 298208 w 521831"/>
              <a:gd name="connsiteY29" fmla="*/ 349266 h 606439"/>
              <a:gd name="connsiteX30" fmla="*/ 298863 w 521831"/>
              <a:gd name="connsiteY30" fmla="*/ 349080 h 606439"/>
              <a:gd name="connsiteX31" fmla="*/ 299331 w 521831"/>
              <a:gd name="connsiteY31" fmla="*/ 348893 h 606439"/>
              <a:gd name="connsiteX32" fmla="*/ 300547 w 521831"/>
              <a:gd name="connsiteY32" fmla="*/ 348613 h 606439"/>
              <a:gd name="connsiteX33" fmla="*/ 300734 w 521831"/>
              <a:gd name="connsiteY33" fmla="*/ 348520 h 606439"/>
              <a:gd name="connsiteX34" fmla="*/ 301296 w 521831"/>
              <a:gd name="connsiteY34" fmla="*/ 348427 h 606439"/>
              <a:gd name="connsiteX35" fmla="*/ 303728 w 521831"/>
              <a:gd name="connsiteY35" fmla="*/ 348240 h 606439"/>
              <a:gd name="connsiteX36" fmla="*/ 318603 w 521831"/>
              <a:gd name="connsiteY36" fmla="*/ 362330 h 606439"/>
              <a:gd name="connsiteX37" fmla="*/ 318603 w 521831"/>
              <a:gd name="connsiteY37" fmla="*/ 393404 h 606439"/>
              <a:gd name="connsiteX38" fmla="*/ 303728 w 521831"/>
              <a:gd name="connsiteY38" fmla="*/ 407868 h 606439"/>
              <a:gd name="connsiteX39" fmla="*/ 294747 w 521831"/>
              <a:gd name="connsiteY39" fmla="*/ 404882 h 606439"/>
              <a:gd name="connsiteX40" fmla="*/ 275475 w 521831"/>
              <a:gd name="connsiteY40" fmla="*/ 387619 h 606439"/>
              <a:gd name="connsiteX41" fmla="*/ 260880 w 521831"/>
              <a:gd name="connsiteY41" fmla="*/ 387712 h 606439"/>
              <a:gd name="connsiteX42" fmla="*/ 246193 w 521831"/>
              <a:gd name="connsiteY42" fmla="*/ 387619 h 606439"/>
              <a:gd name="connsiteX43" fmla="*/ 227014 w 521831"/>
              <a:gd name="connsiteY43" fmla="*/ 404882 h 606439"/>
              <a:gd name="connsiteX44" fmla="*/ 218033 w 521831"/>
              <a:gd name="connsiteY44" fmla="*/ 407868 h 606439"/>
              <a:gd name="connsiteX45" fmla="*/ 203158 w 521831"/>
              <a:gd name="connsiteY45" fmla="*/ 393404 h 606439"/>
              <a:gd name="connsiteX46" fmla="*/ 203158 w 521831"/>
              <a:gd name="connsiteY46" fmla="*/ 362330 h 606439"/>
              <a:gd name="connsiteX47" fmla="*/ 218033 w 521831"/>
              <a:gd name="connsiteY47" fmla="*/ 348240 h 606439"/>
              <a:gd name="connsiteX48" fmla="*/ 260891 w 521831"/>
              <a:gd name="connsiteY48" fmla="*/ 0 h 606439"/>
              <a:gd name="connsiteX49" fmla="*/ 433412 w 521831"/>
              <a:gd name="connsiteY49" fmla="*/ 57425 h 606439"/>
              <a:gd name="connsiteX50" fmla="*/ 400591 w 521831"/>
              <a:gd name="connsiteY50" fmla="*/ 80301 h 606439"/>
              <a:gd name="connsiteX51" fmla="*/ 389183 w 521831"/>
              <a:gd name="connsiteY51" fmla="*/ 96361 h 606439"/>
              <a:gd name="connsiteX52" fmla="*/ 378149 w 521831"/>
              <a:gd name="connsiteY52" fmla="*/ 134457 h 606439"/>
              <a:gd name="connsiteX53" fmla="*/ 378056 w 521831"/>
              <a:gd name="connsiteY53" fmla="*/ 135578 h 606439"/>
              <a:gd name="connsiteX54" fmla="*/ 370575 w 521831"/>
              <a:gd name="connsiteY54" fmla="*/ 186560 h 606439"/>
              <a:gd name="connsiteX55" fmla="*/ 381142 w 521831"/>
              <a:gd name="connsiteY55" fmla="*/ 210837 h 606439"/>
              <a:gd name="connsiteX56" fmla="*/ 353931 w 521831"/>
              <a:gd name="connsiteY56" fmla="*/ 260044 h 606439"/>
              <a:gd name="connsiteX57" fmla="*/ 296143 w 521831"/>
              <a:gd name="connsiteY57" fmla="*/ 330261 h 606439"/>
              <a:gd name="connsiteX58" fmla="*/ 260891 w 521831"/>
              <a:gd name="connsiteY58" fmla="*/ 338291 h 606439"/>
              <a:gd name="connsiteX59" fmla="*/ 225639 w 521831"/>
              <a:gd name="connsiteY59" fmla="*/ 330261 h 606439"/>
              <a:gd name="connsiteX60" fmla="*/ 167758 w 521831"/>
              <a:gd name="connsiteY60" fmla="*/ 260044 h 606439"/>
              <a:gd name="connsiteX61" fmla="*/ 140548 w 521831"/>
              <a:gd name="connsiteY61" fmla="*/ 210837 h 606439"/>
              <a:gd name="connsiteX62" fmla="*/ 151207 w 521831"/>
              <a:gd name="connsiteY62" fmla="*/ 186560 h 606439"/>
              <a:gd name="connsiteX63" fmla="*/ 143727 w 521831"/>
              <a:gd name="connsiteY63" fmla="*/ 135578 h 606439"/>
              <a:gd name="connsiteX64" fmla="*/ 143633 w 521831"/>
              <a:gd name="connsiteY64" fmla="*/ 134457 h 606439"/>
              <a:gd name="connsiteX65" fmla="*/ 132599 w 521831"/>
              <a:gd name="connsiteY65" fmla="*/ 96361 h 606439"/>
              <a:gd name="connsiteX66" fmla="*/ 121192 w 521831"/>
              <a:gd name="connsiteY66" fmla="*/ 80301 h 606439"/>
              <a:gd name="connsiteX67" fmla="*/ 88277 w 521831"/>
              <a:gd name="connsiteY67" fmla="*/ 57425 h 606439"/>
              <a:gd name="connsiteX68" fmla="*/ 260891 w 521831"/>
              <a:gd name="connsiteY68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21831" h="606439">
                <a:moveTo>
                  <a:pt x="176656" y="380983"/>
                </a:moveTo>
                <a:cubicBezTo>
                  <a:pt x="181238" y="380983"/>
                  <a:pt x="185072" y="383691"/>
                  <a:pt x="186943" y="387521"/>
                </a:cubicBezTo>
                <a:cubicBezTo>
                  <a:pt x="204711" y="417314"/>
                  <a:pt x="237817" y="495486"/>
                  <a:pt x="260916" y="497073"/>
                </a:cubicBezTo>
                <a:cubicBezTo>
                  <a:pt x="284014" y="495486"/>
                  <a:pt x="317026" y="417314"/>
                  <a:pt x="334888" y="387521"/>
                </a:cubicBezTo>
                <a:cubicBezTo>
                  <a:pt x="336665" y="383691"/>
                  <a:pt x="340593" y="380983"/>
                  <a:pt x="345082" y="380983"/>
                </a:cubicBezTo>
                <a:cubicBezTo>
                  <a:pt x="347233" y="380983"/>
                  <a:pt x="349103" y="381637"/>
                  <a:pt x="350786" y="382571"/>
                </a:cubicBezTo>
                <a:cubicBezTo>
                  <a:pt x="357239" y="386026"/>
                  <a:pt x="394927" y="408441"/>
                  <a:pt x="416530" y="416286"/>
                </a:cubicBezTo>
                <a:cubicBezTo>
                  <a:pt x="489193" y="442437"/>
                  <a:pt x="521831" y="469055"/>
                  <a:pt x="521831" y="487267"/>
                </a:cubicBezTo>
                <a:lnTo>
                  <a:pt x="521831" y="606439"/>
                </a:lnTo>
                <a:lnTo>
                  <a:pt x="260916" y="606439"/>
                </a:lnTo>
                <a:lnTo>
                  <a:pt x="0" y="606439"/>
                </a:lnTo>
                <a:lnTo>
                  <a:pt x="0" y="487267"/>
                </a:lnTo>
                <a:cubicBezTo>
                  <a:pt x="0" y="469055"/>
                  <a:pt x="32638" y="442437"/>
                  <a:pt x="105301" y="416286"/>
                </a:cubicBezTo>
                <a:cubicBezTo>
                  <a:pt x="126904" y="408441"/>
                  <a:pt x="164592" y="386026"/>
                  <a:pt x="170951" y="382571"/>
                </a:cubicBezTo>
                <a:cubicBezTo>
                  <a:pt x="172634" y="381637"/>
                  <a:pt x="174598" y="380983"/>
                  <a:pt x="176656" y="380983"/>
                </a:cubicBezTo>
                <a:close/>
                <a:moveTo>
                  <a:pt x="218033" y="348240"/>
                </a:moveTo>
                <a:cubicBezTo>
                  <a:pt x="218875" y="348240"/>
                  <a:pt x="219623" y="348333"/>
                  <a:pt x="220372" y="348427"/>
                </a:cubicBezTo>
                <a:cubicBezTo>
                  <a:pt x="220559" y="348520"/>
                  <a:pt x="220840" y="348520"/>
                  <a:pt x="221027" y="348520"/>
                </a:cubicBezTo>
                <a:cubicBezTo>
                  <a:pt x="221027" y="348520"/>
                  <a:pt x="221120" y="348613"/>
                  <a:pt x="221120" y="348613"/>
                </a:cubicBezTo>
                <a:cubicBezTo>
                  <a:pt x="221588" y="348707"/>
                  <a:pt x="221962" y="348800"/>
                  <a:pt x="222336" y="348893"/>
                </a:cubicBezTo>
                <a:cubicBezTo>
                  <a:pt x="222524" y="348893"/>
                  <a:pt x="222711" y="348987"/>
                  <a:pt x="222898" y="349080"/>
                </a:cubicBezTo>
                <a:cubicBezTo>
                  <a:pt x="223085" y="349173"/>
                  <a:pt x="223272" y="349173"/>
                  <a:pt x="223553" y="349266"/>
                </a:cubicBezTo>
                <a:cubicBezTo>
                  <a:pt x="224956" y="349920"/>
                  <a:pt x="226359" y="350666"/>
                  <a:pt x="227575" y="351693"/>
                </a:cubicBezTo>
                <a:cubicBezTo>
                  <a:pt x="234498" y="357105"/>
                  <a:pt x="238989" y="367183"/>
                  <a:pt x="247783" y="367836"/>
                </a:cubicBezTo>
                <a:cubicBezTo>
                  <a:pt x="248625" y="367929"/>
                  <a:pt x="249467" y="367929"/>
                  <a:pt x="250309" y="367929"/>
                </a:cubicBezTo>
                <a:cubicBezTo>
                  <a:pt x="251151" y="367929"/>
                  <a:pt x="256390" y="367836"/>
                  <a:pt x="260880" y="367836"/>
                </a:cubicBezTo>
                <a:cubicBezTo>
                  <a:pt x="265371" y="367836"/>
                  <a:pt x="270610" y="367929"/>
                  <a:pt x="271358" y="367929"/>
                </a:cubicBezTo>
                <a:cubicBezTo>
                  <a:pt x="272294" y="367929"/>
                  <a:pt x="273136" y="367929"/>
                  <a:pt x="273978" y="367836"/>
                </a:cubicBezTo>
                <a:cubicBezTo>
                  <a:pt x="282772" y="367183"/>
                  <a:pt x="287169" y="357105"/>
                  <a:pt x="294186" y="351693"/>
                </a:cubicBezTo>
                <a:cubicBezTo>
                  <a:pt x="295402" y="350666"/>
                  <a:pt x="296711" y="349920"/>
                  <a:pt x="298208" y="349266"/>
                </a:cubicBezTo>
                <a:cubicBezTo>
                  <a:pt x="298395" y="349173"/>
                  <a:pt x="298676" y="349173"/>
                  <a:pt x="298863" y="349080"/>
                </a:cubicBezTo>
                <a:cubicBezTo>
                  <a:pt x="299050" y="348987"/>
                  <a:pt x="299237" y="348893"/>
                  <a:pt x="299331" y="348893"/>
                </a:cubicBezTo>
                <a:cubicBezTo>
                  <a:pt x="299799" y="348800"/>
                  <a:pt x="300173" y="348707"/>
                  <a:pt x="300547" y="348613"/>
                </a:cubicBezTo>
                <a:cubicBezTo>
                  <a:pt x="300641" y="348613"/>
                  <a:pt x="300641" y="348520"/>
                  <a:pt x="300734" y="348520"/>
                </a:cubicBezTo>
                <a:cubicBezTo>
                  <a:pt x="300921" y="348520"/>
                  <a:pt x="301108" y="348520"/>
                  <a:pt x="301296" y="348427"/>
                </a:cubicBezTo>
                <a:cubicBezTo>
                  <a:pt x="302138" y="348333"/>
                  <a:pt x="302886" y="348240"/>
                  <a:pt x="303728" y="348240"/>
                </a:cubicBezTo>
                <a:cubicBezTo>
                  <a:pt x="311680" y="348240"/>
                  <a:pt x="318135" y="354492"/>
                  <a:pt x="318603" y="362330"/>
                </a:cubicBezTo>
                <a:lnTo>
                  <a:pt x="318603" y="393404"/>
                </a:lnTo>
                <a:cubicBezTo>
                  <a:pt x="318322" y="401429"/>
                  <a:pt x="311774" y="407868"/>
                  <a:pt x="303728" y="407868"/>
                </a:cubicBezTo>
                <a:cubicBezTo>
                  <a:pt x="300360" y="407868"/>
                  <a:pt x="297273" y="406748"/>
                  <a:pt x="294747" y="404882"/>
                </a:cubicBezTo>
                <a:cubicBezTo>
                  <a:pt x="286327" y="399376"/>
                  <a:pt x="280620" y="387899"/>
                  <a:pt x="275475" y="387619"/>
                </a:cubicBezTo>
                <a:lnTo>
                  <a:pt x="260880" y="387712"/>
                </a:lnTo>
                <a:lnTo>
                  <a:pt x="246193" y="387619"/>
                </a:lnTo>
                <a:cubicBezTo>
                  <a:pt x="241047" y="387899"/>
                  <a:pt x="235434" y="399376"/>
                  <a:pt x="227014" y="404882"/>
                </a:cubicBezTo>
                <a:cubicBezTo>
                  <a:pt x="224488" y="406748"/>
                  <a:pt x="221401" y="407868"/>
                  <a:pt x="218033" y="407868"/>
                </a:cubicBezTo>
                <a:cubicBezTo>
                  <a:pt x="209894" y="407868"/>
                  <a:pt x="203345" y="401429"/>
                  <a:pt x="203158" y="393404"/>
                </a:cubicBezTo>
                <a:lnTo>
                  <a:pt x="203158" y="362330"/>
                </a:lnTo>
                <a:cubicBezTo>
                  <a:pt x="203532" y="354492"/>
                  <a:pt x="210081" y="348240"/>
                  <a:pt x="218033" y="348240"/>
                </a:cubicBezTo>
                <a:close/>
                <a:moveTo>
                  <a:pt x="260891" y="0"/>
                </a:moveTo>
                <a:cubicBezTo>
                  <a:pt x="317557" y="0"/>
                  <a:pt x="433412" y="35949"/>
                  <a:pt x="433412" y="57425"/>
                </a:cubicBezTo>
                <a:cubicBezTo>
                  <a:pt x="433412" y="66015"/>
                  <a:pt x="421256" y="73858"/>
                  <a:pt x="400591" y="80301"/>
                </a:cubicBezTo>
                <a:cubicBezTo>
                  <a:pt x="399375" y="85997"/>
                  <a:pt x="395355" y="91412"/>
                  <a:pt x="389183" y="96361"/>
                </a:cubicBezTo>
                <a:cubicBezTo>
                  <a:pt x="388155" y="111394"/>
                  <a:pt x="384134" y="123906"/>
                  <a:pt x="378149" y="134457"/>
                </a:cubicBezTo>
                <a:cubicBezTo>
                  <a:pt x="378149" y="134831"/>
                  <a:pt x="378056" y="135204"/>
                  <a:pt x="378056" y="135578"/>
                </a:cubicBezTo>
                <a:cubicBezTo>
                  <a:pt x="375905" y="157801"/>
                  <a:pt x="370575" y="186560"/>
                  <a:pt x="370575" y="186560"/>
                </a:cubicBezTo>
                <a:cubicBezTo>
                  <a:pt x="370575" y="186560"/>
                  <a:pt x="381142" y="191415"/>
                  <a:pt x="381142" y="210837"/>
                </a:cubicBezTo>
                <a:cubicBezTo>
                  <a:pt x="377401" y="259764"/>
                  <a:pt x="357952" y="238662"/>
                  <a:pt x="353931" y="260044"/>
                </a:cubicBezTo>
                <a:cubicBezTo>
                  <a:pt x="347292" y="295713"/>
                  <a:pt x="315780" y="321390"/>
                  <a:pt x="296143" y="330261"/>
                </a:cubicBezTo>
                <a:cubicBezTo>
                  <a:pt x="284736" y="335396"/>
                  <a:pt x="273141" y="338011"/>
                  <a:pt x="260891" y="338291"/>
                </a:cubicBezTo>
                <a:cubicBezTo>
                  <a:pt x="248642" y="338011"/>
                  <a:pt x="236953" y="335396"/>
                  <a:pt x="225639" y="330261"/>
                </a:cubicBezTo>
                <a:cubicBezTo>
                  <a:pt x="206003" y="321390"/>
                  <a:pt x="174491" y="295713"/>
                  <a:pt x="167758" y="260044"/>
                </a:cubicBezTo>
                <a:cubicBezTo>
                  <a:pt x="163737" y="238662"/>
                  <a:pt x="144288" y="259764"/>
                  <a:pt x="140548" y="210837"/>
                </a:cubicBezTo>
                <a:cubicBezTo>
                  <a:pt x="140548" y="191415"/>
                  <a:pt x="151207" y="186560"/>
                  <a:pt x="151207" y="186560"/>
                </a:cubicBezTo>
                <a:cubicBezTo>
                  <a:pt x="151207" y="186560"/>
                  <a:pt x="145784" y="157801"/>
                  <a:pt x="143727" y="135578"/>
                </a:cubicBezTo>
                <a:cubicBezTo>
                  <a:pt x="143633" y="135204"/>
                  <a:pt x="143633" y="134831"/>
                  <a:pt x="143633" y="134457"/>
                </a:cubicBezTo>
                <a:cubicBezTo>
                  <a:pt x="137555" y="123906"/>
                  <a:pt x="133534" y="111394"/>
                  <a:pt x="132599" y="96361"/>
                </a:cubicBezTo>
                <a:cubicBezTo>
                  <a:pt x="126428" y="91412"/>
                  <a:pt x="122407" y="85997"/>
                  <a:pt x="121192" y="80301"/>
                </a:cubicBezTo>
                <a:cubicBezTo>
                  <a:pt x="100526" y="73858"/>
                  <a:pt x="88277" y="66015"/>
                  <a:pt x="88277" y="57425"/>
                </a:cubicBezTo>
                <a:cubicBezTo>
                  <a:pt x="88277" y="35949"/>
                  <a:pt x="204132" y="0"/>
                  <a:pt x="260891" y="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55" name="5-Point Star 44"/>
          <p:cNvSpPr/>
          <p:nvPr/>
        </p:nvSpPr>
        <p:spPr>
          <a:xfrm>
            <a:off x="8070367" y="2066991"/>
            <a:ext cx="202047" cy="205422"/>
          </a:xfrm>
          <a:custGeom>
            <a:avLst/>
            <a:gdLst>
              <a:gd name="connsiteX0" fmla="*/ 234364 w 607639"/>
              <a:gd name="connsiteY0" fmla="*/ 416013 h 572074"/>
              <a:gd name="connsiteX1" fmla="*/ 208375 w 607639"/>
              <a:gd name="connsiteY1" fmla="*/ 442053 h 572074"/>
              <a:gd name="connsiteX2" fmla="*/ 234364 w 607639"/>
              <a:gd name="connsiteY2" fmla="*/ 468004 h 572074"/>
              <a:gd name="connsiteX3" fmla="*/ 373294 w 607639"/>
              <a:gd name="connsiteY3" fmla="*/ 468004 h 572074"/>
              <a:gd name="connsiteX4" fmla="*/ 399283 w 607639"/>
              <a:gd name="connsiteY4" fmla="*/ 442053 h 572074"/>
              <a:gd name="connsiteX5" fmla="*/ 373294 w 607639"/>
              <a:gd name="connsiteY5" fmla="*/ 416013 h 572074"/>
              <a:gd name="connsiteX6" fmla="*/ 364572 w 607639"/>
              <a:gd name="connsiteY6" fmla="*/ 312032 h 572074"/>
              <a:gd name="connsiteX7" fmla="*/ 329862 w 607639"/>
              <a:gd name="connsiteY7" fmla="*/ 346693 h 572074"/>
              <a:gd name="connsiteX8" fmla="*/ 364572 w 607639"/>
              <a:gd name="connsiteY8" fmla="*/ 381353 h 572074"/>
              <a:gd name="connsiteX9" fmla="*/ 399283 w 607639"/>
              <a:gd name="connsiteY9" fmla="*/ 346693 h 572074"/>
              <a:gd name="connsiteX10" fmla="*/ 364572 w 607639"/>
              <a:gd name="connsiteY10" fmla="*/ 312032 h 572074"/>
              <a:gd name="connsiteX11" fmla="*/ 243086 w 607639"/>
              <a:gd name="connsiteY11" fmla="*/ 312032 h 572074"/>
              <a:gd name="connsiteX12" fmla="*/ 208375 w 607639"/>
              <a:gd name="connsiteY12" fmla="*/ 346693 h 572074"/>
              <a:gd name="connsiteX13" fmla="*/ 243086 w 607639"/>
              <a:gd name="connsiteY13" fmla="*/ 381353 h 572074"/>
              <a:gd name="connsiteX14" fmla="*/ 277796 w 607639"/>
              <a:gd name="connsiteY14" fmla="*/ 346693 h 572074"/>
              <a:gd name="connsiteX15" fmla="*/ 243086 w 607639"/>
              <a:gd name="connsiteY15" fmla="*/ 312032 h 572074"/>
              <a:gd name="connsiteX16" fmla="*/ 555562 w 607639"/>
              <a:gd name="connsiteY16" fmla="*/ 311970 h 572074"/>
              <a:gd name="connsiteX17" fmla="*/ 581556 w 607639"/>
              <a:gd name="connsiteY17" fmla="*/ 311970 h 572074"/>
              <a:gd name="connsiteX18" fmla="*/ 607639 w 607639"/>
              <a:gd name="connsiteY18" fmla="*/ 337929 h 572074"/>
              <a:gd name="connsiteX19" fmla="*/ 607639 w 607639"/>
              <a:gd name="connsiteY19" fmla="*/ 442031 h 572074"/>
              <a:gd name="connsiteX20" fmla="*/ 581556 w 607639"/>
              <a:gd name="connsiteY20" fmla="*/ 467990 h 572074"/>
              <a:gd name="connsiteX21" fmla="*/ 555562 w 607639"/>
              <a:gd name="connsiteY21" fmla="*/ 467990 h 572074"/>
              <a:gd name="connsiteX22" fmla="*/ 555562 w 607639"/>
              <a:gd name="connsiteY22" fmla="*/ 442031 h 572074"/>
              <a:gd name="connsiteX23" fmla="*/ 555562 w 607639"/>
              <a:gd name="connsiteY23" fmla="*/ 415983 h 572074"/>
              <a:gd name="connsiteX24" fmla="*/ 555562 w 607639"/>
              <a:gd name="connsiteY24" fmla="*/ 363977 h 572074"/>
              <a:gd name="connsiteX25" fmla="*/ 555562 w 607639"/>
              <a:gd name="connsiteY25" fmla="*/ 337929 h 572074"/>
              <a:gd name="connsiteX26" fmla="*/ 26083 w 607639"/>
              <a:gd name="connsiteY26" fmla="*/ 311970 h 572074"/>
              <a:gd name="connsiteX27" fmla="*/ 52077 w 607639"/>
              <a:gd name="connsiteY27" fmla="*/ 311970 h 572074"/>
              <a:gd name="connsiteX28" fmla="*/ 52077 w 607639"/>
              <a:gd name="connsiteY28" fmla="*/ 337929 h 572074"/>
              <a:gd name="connsiteX29" fmla="*/ 52077 w 607639"/>
              <a:gd name="connsiteY29" fmla="*/ 363977 h 572074"/>
              <a:gd name="connsiteX30" fmla="*/ 52077 w 607639"/>
              <a:gd name="connsiteY30" fmla="*/ 415983 h 572074"/>
              <a:gd name="connsiteX31" fmla="*/ 52077 w 607639"/>
              <a:gd name="connsiteY31" fmla="*/ 442031 h 572074"/>
              <a:gd name="connsiteX32" fmla="*/ 52077 w 607639"/>
              <a:gd name="connsiteY32" fmla="*/ 467990 h 572074"/>
              <a:gd name="connsiteX33" fmla="*/ 26083 w 607639"/>
              <a:gd name="connsiteY33" fmla="*/ 467990 h 572074"/>
              <a:gd name="connsiteX34" fmla="*/ 0 w 607639"/>
              <a:gd name="connsiteY34" fmla="*/ 442031 h 572074"/>
              <a:gd name="connsiteX35" fmla="*/ 0 w 607639"/>
              <a:gd name="connsiteY35" fmla="*/ 337929 h 572074"/>
              <a:gd name="connsiteX36" fmla="*/ 26083 w 607639"/>
              <a:gd name="connsiteY36" fmla="*/ 311970 h 572074"/>
              <a:gd name="connsiteX37" fmla="*/ 303784 w 607639"/>
              <a:gd name="connsiteY37" fmla="*/ 0 h 572074"/>
              <a:gd name="connsiteX38" fmla="*/ 381927 w 607639"/>
              <a:gd name="connsiteY38" fmla="*/ 78030 h 572074"/>
              <a:gd name="connsiteX39" fmla="*/ 329862 w 607639"/>
              <a:gd name="connsiteY39" fmla="*/ 151528 h 572074"/>
              <a:gd name="connsiteX40" fmla="*/ 329862 w 607639"/>
              <a:gd name="connsiteY40" fmla="*/ 208051 h 572074"/>
              <a:gd name="connsiteX41" fmla="*/ 477426 w 607639"/>
              <a:gd name="connsiteY41" fmla="*/ 208051 h 572074"/>
              <a:gd name="connsiteX42" fmla="*/ 503414 w 607639"/>
              <a:gd name="connsiteY42" fmla="*/ 234002 h 572074"/>
              <a:gd name="connsiteX43" fmla="*/ 503414 w 607639"/>
              <a:gd name="connsiteY43" fmla="*/ 312032 h 572074"/>
              <a:gd name="connsiteX44" fmla="*/ 503414 w 607639"/>
              <a:gd name="connsiteY44" fmla="*/ 337983 h 572074"/>
              <a:gd name="connsiteX45" fmla="*/ 503414 w 607639"/>
              <a:gd name="connsiteY45" fmla="*/ 364023 h 572074"/>
              <a:gd name="connsiteX46" fmla="*/ 503414 w 607639"/>
              <a:gd name="connsiteY46" fmla="*/ 416013 h 572074"/>
              <a:gd name="connsiteX47" fmla="*/ 503414 w 607639"/>
              <a:gd name="connsiteY47" fmla="*/ 442053 h 572074"/>
              <a:gd name="connsiteX48" fmla="*/ 503414 w 607639"/>
              <a:gd name="connsiteY48" fmla="*/ 468004 h 572074"/>
              <a:gd name="connsiteX49" fmla="*/ 503414 w 607639"/>
              <a:gd name="connsiteY49" fmla="*/ 546034 h 572074"/>
              <a:gd name="connsiteX50" fmla="*/ 477426 w 607639"/>
              <a:gd name="connsiteY50" fmla="*/ 572074 h 572074"/>
              <a:gd name="connsiteX51" fmla="*/ 130232 w 607639"/>
              <a:gd name="connsiteY51" fmla="*/ 572074 h 572074"/>
              <a:gd name="connsiteX52" fmla="*/ 104155 w 607639"/>
              <a:gd name="connsiteY52" fmla="*/ 546034 h 572074"/>
              <a:gd name="connsiteX53" fmla="*/ 104155 w 607639"/>
              <a:gd name="connsiteY53" fmla="*/ 468004 h 572074"/>
              <a:gd name="connsiteX54" fmla="*/ 104155 w 607639"/>
              <a:gd name="connsiteY54" fmla="*/ 442053 h 572074"/>
              <a:gd name="connsiteX55" fmla="*/ 104155 w 607639"/>
              <a:gd name="connsiteY55" fmla="*/ 416013 h 572074"/>
              <a:gd name="connsiteX56" fmla="*/ 104155 w 607639"/>
              <a:gd name="connsiteY56" fmla="*/ 364023 h 572074"/>
              <a:gd name="connsiteX57" fmla="*/ 104155 w 607639"/>
              <a:gd name="connsiteY57" fmla="*/ 337983 h 572074"/>
              <a:gd name="connsiteX58" fmla="*/ 104155 w 607639"/>
              <a:gd name="connsiteY58" fmla="*/ 312032 h 572074"/>
              <a:gd name="connsiteX59" fmla="*/ 104155 w 607639"/>
              <a:gd name="connsiteY59" fmla="*/ 234002 h 572074"/>
              <a:gd name="connsiteX60" fmla="*/ 130232 w 607639"/>
              <a:gd name="connsiteY60" fmla="*/ 208051 h 572074"/>
              <a:gd name="connsiteX61" fmla="*/ 277796 w 607639"/>
              <a:gd name="connsiteY61" fmla="*/ 208051 h 572074"/>
              <a:gd name="connsiteX62" fmla="*/ 277796 w 607639"/>
              <a:gd name="connsiteY62" fmla="*/ 151528 h 572074"/>
              <a:gd name="connsiteX63" fmla="*/ 225731 w 607639"/>
              <a:gd name="connsiteY63" fmla="*/ 78030 h 572074"/>
              <a:gd name="connsiteX64" fmla="*/ 303784 w 607639"/>
              <a:gd name="connsiteY64" fmla="*/ 0 h 572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07639" h="572074">
                <a:moveTo>
                  <a:pt x="234364" y="416013"/>
                </a:moveTo>
                <a:cubicBezTo>
                  <a:pt x="220034" y="416013"/>
                  <a:pt x="208375" y="427656"/>
                  <a:pt x="208375" y="442053"/>
                </a:cubicBezTo>
                <a:cubicBezTo>
                  <a:pt x="208375" y="456362"/>
                  <a:pt x="220034" y="468004"/>
                  <a:pt x="234364" y="468004"/>
                </a:cubicBezTo>
                <a:lnTo>
                  <a:pt x="373294" y="468004"/>
                </a:lnTo>
                <a:cubicBezTo>
                  <a:pt x="387624" y="468004"/>
                  <a:pt x="399283" y="456362"/>
                  <a:pt x="399283" y="442053"/>
                </a:cubicBezTo>
                <a:cubicBezTo>
                  <a:pt x="399283" y="427656"/>
                  <a:pt x="387624" y="416013"/>
                  <a:pt x="373294" y="416013"/>
                </a:cubicBezTo>
                <a:close/>
                <a:moveTo>
                  <a:pt x="364572" y="312032"/>
                </a:moveTo>
                <a:cubicBezTo>
                  <a:pt x="345437" y="312032"/>
                  <a:pt x="329862" y="327585"/>
                  <a:pt x="329862" y="346693"/>
                </a:cubicBezTo>
                <a:cubicBezTo>
                  <a:pt x="329862" y="365800"/>
                  <a:pt x="345437" y="381353"/>
                  <a:pt x="364572" y="381353"/>
                </a:cubicBezTo>
                <a:cubicBezTo>
                  <a:pt x="383708" y="381353"/>
                  <a:pt x="399283" y="365800"/>
                  <a:pt x="399283" y="346693"/>
                </a:cubicBezTo>
                <a:cubicBezTo>
                  <a:pt x="399283" y="327585"/>
                  <a:pt x="383708" y="312032"/>
                  <a:pt x="364572" y="312032"/>
                </a:cubicBezTo>
                <a:close/>
                <a:moveTo>
                  <a:pt x="243086" y="312032"/>
                </a:moveTo>
                <a:cubicBezTo>
                  <a:pt x="223950" y="312032"/>
                  <a:pt x="208375" y="327585"/>
                  <a:pt x="208375" y="346693"/>
                </a:cubicBezTo>
                <a:cubicBezTo>
                  <a:pt x="208375" y="365800"/>
                  <a:pt x="223950" y="381353"/>
                  <a:pt x="243086" y="381353"/>
                </a:cubicBezTo>
                <a:cubicBezTo>
                  <a:pt x="262221" y="381353"/>
                  <a:pt x="277796" y="365800"/>
                  <a:pt x="277796" y="346693"/>
                </a:cubicBezTo>
                <a:cubicBezTo>
                  <a:pt x="277796" y="327585"/>
                  <a:pt x="262221" y="312032"/>
                  <a:pt x="243086" y="312032"/>
                </a:cubicBezTo>
                <a:close/>
                <a:moveTo>
                  <a:pt x="555562" y="311970"/>
                </a:moveTo>
                <a:lnTo>
                  <a:pt x="581556" y="311970"/>
                </a:lnTo>
                <a:cubicBezTo>
                  <a:pt x="595977" y="311970"/>
                  <a:pt x="607639" y="323616"/>
                  <a:pt x="607639" y="337929"/>
                </a:cubicBezTo>
                <a:lnTo>
                  <a:pt x="607639" y="442031"/>
                </a:lnTo>
                <a:cubicBezTo>
                  <a:pt x="607639" y="456344"/>
                  <a:pt x="595977" y="467990"/>
                  <a:pt x="581556" y="467990"/>
                </a:cubicBezTo>
                <a:lnTo>
                  <a:pt x="555562" y="467990"/>
                </a:lnTo>
                <a:lnTo>
                  <a:pt x="555562" y="442031"/>
                </a:lnTo>
                <a:lnTo>
                  <a:pt x="555562" y="415983"/>
                </a:lnTo>
                <a:lnTo>
                  <a:pt x="555562" y="363977"/>
                </a:lnTo>
                <a:lnTo>
                  <a:pt x="555562" y="337929"/>
                </a:lnTo>
                <a:close/>
                <a:moveTo>
                  <a:pt x="26083" y="311970"/>
                </a:moveTo>
                <a:lnTo>
                  <a:pt x="52077" y="311970"/>
                </a:lnTo>
                <a:lnTo>
                  <a:pt x="52077" y="337929"/>
                </a:lnTo>
                <a:lnTo>
                  <a:pt x="52077" y="363977"/>
                </a:lnTo>
                <a:lnTo>
                  <a:pt x="52077" y="415983"/>
                </a:lnTo>
                <a:lnTo>
                  <a:pt x="52077" y="442031"/>
                </a:lnTo>
                <a:lnTo>
                  <a:pt x="52077" y="467990"/>
                </a:lnTo>
                <a:lnTo>
                  <a:pt x="26083" y="467990"/>
                </a:lnTo>
                <a:cubicBezTo>
                  <a:pt x="11662" y="467990"/>
                  <a:pt x="0" y="456344"/>
                  <a:pt x="0" y="442031"/>
                </a:cubicBezTo>
                <a:lnTo>
                  <a:pt x="0" y="337929"/>
                </a:lnTo>
                <a:cubicBezTo>
                  <a:pt x="0" y="323616"/>
                  <a:pt x="11662" y="311970"/>
                  <a:pt x="26083" y="311970"/>
                </a:cubicBezTo>
                <a:close/>
                <a:moveTo>
                  <a:pt x="303784" y="0"/>
                </a:moveTo>
                <a:cubicBezTo>
                  <a:pt x="346861" y="0"/>
                  <a:pt x="381927" y="35016"/>
                  <a:pt x="381927" y="78030"/>
                </a:cubicBezTo>
                <a:cubicBezTo>
                  <a:pt x="381927" y="111891"/>
                  <a:pt x="360122" y="140774"/>
                  <a:pt x="329862" y="151528"/>
                </a:cubicBezTo>
                <a:lnTo>
                  <a:pt x="329862" y="208051"/>
                </a:lnTo>
                <a:lnTo>
                  <a:pt x="477426" y="208051"/>
                </a:lnTo>
                <a:cubicBezTo>
                  <a:pt x="491755" y="208051"/>
                  <a:pt x="503414" y="219693"/>
                  <a:pt x="503414" y="234002"/>
                </a:cubicBezTo>
                <a:lnTo>
                  <a:pt x="503414" y="312032"/>
                </a:lnTo>
                <a:lnTo>
                  <a:pt x="503414" y="337983"/>
                </a:lnTo>
                <a:lnTo>
                  <a:pt x="503414" y="364023"/>
                </a:lnTo>
                <a:lnTo>
                  <a:pt x="503414" y="416013"/>
                </a:lnTo>
                <a:lnTo>
                  <a:pt x="503414" y="442053"/>
                </a:lnTo>
                <a:lnTo>
                  <a:pt x="503414" y="468004"/>
                </a:lnTo>
                <a:lnTo>
                  <a:pt x="503414" y="546034"/>
                </a:lnTo>
                <a:cubicBezTo>
                  <a:pt x="503414" y="560432"/>
                  <a:pt x="491755" y="572074"/>
                  <a:pt x="477426" y="572074"/>
                </a:cubicBezTo>
                <a:lnTo>
                  <a:pt x="130232" y="572074"/>
                </a:lnTo>
                <a:cubicBezTo>
                  <a:pt x="115814" y="572074"/>
                  <a:pt x="104155" y="560432"/>
                  <a:pt x="104155" y="546034"/>
                </a:cubicBezTo>
                <a:lnTo>
                  <a:pt x="104155" y="468004"/>
                </a:lnTo>
                <a:lnTo>
                  <a:pt x="104155" y="442053"/>
                </a:lnTo>
                <a:lnTo>
                  <a:pt x="104155" y="416013"/>
                </a:lnTo>
                <a:lnTo>
                  <a:pt x="104155" y="364023"/>
                </a:lnTo>
                <a:lnTo>
                  <a:pt x="104155" y="337983"/>
                </a:lnTo>
                <a:lnTo>
                  <a:pt x="104155" y="312032"/>
                </a:lnTo>
                <a:lnTo>
                  <a:pt x="104155" y="234002"/>
                </a:lnTo>
                <a:cubicBezTo>
                  <a:pt x="104155" y="219693"/>
                  <a:pt x="115814" y="208051"/>
                  <a:pt x="130232" y="208051"/>
                </a:cubicBezTo>
                <a:lnTo>
                  <a:pt x="277796" y="208051"/>
                </a:lnTo>
                <a:lnTo>
                  <a:pt x="277796" y="151528"/>
                </a:lnTo>
                <a:cubicBezTo>
                  <a:pt x="247447" y="140774"/>
                  <a:pt x="225731" y="111891"/>
                  <a:pt x="225731" y="78030"/>
                </a:cubicBezTo>
                <a:cubicBezTo>
                  <a:pt x="225731" y="35016"/>
                  <a:pt x="260708" y="0"/>
                  <a:pt x="303784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华文楷体"/>
              <a:cs typeface="+mn-cs"/>
            </a:endParaRPr>
          </a:p>
        </p:txBody>
      </p:sp>
      <p:sp>
        <p:nvSpPr>
          <p:cNvPr id="156" name="矩形 155"/>
          <p:cNvSpPr/>
          <p:nvPr/>
        </p:nvSpPr>
        <p:spPr>
          <a:xfrm>
            <a:off x="8316393" y="1854081"/>
            <a:ext cx="612000" cy="144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人工处理</a:t>
            </a:r>
            <a:endParaRPr kumimoji="0" lang="zh-CN" altLang="en-US" sz="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  <p:sp>
        <p:nvSpPr>
          <p:cNvPr id="243" name="矩形 242"/>
          <p:cNvSpPr/>
          <p:nvPr/>
        </p:nvSpPr>
        <p:spPr>
          <a:xfrm>
            <a:off x="8316393" y="2117587"/>
            <a:ext cx="612000" cy="144000"/>
          </a:xfrm>
          <a:prstGeom prst="rect">
            <a:avLst/>
          </a:prstGeom>
          <a:solidFill>
            <a:schemeClr val="bg1"/>
          </a:solidFill>
          <a:ln>
            <a:solidFill>
              <a:srgbClr val="F159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RPA</a:t>
            </a:r>
            <a:r>
              <a:rPr kumimoji="0" lang="zh-CN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华文楷体"/>
                <a:ea typeface="华文楷体"/>
                <a:cs typeface="+mn-cs"/>
              </a:rPr>
              <a:t>处理</a:t>
            </a:r>
            <a:endParaRPr kumimoji="0" lang="zh-CN" altLang="en-US" sz="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华文楷体"/>
              <a:ea typeface="华文楷体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33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ingAn 16:9">
  <a:themeElements>
    <a:clrScheme name="Pingan Black">
      <a:dk1>
        <a:sysClr val="windowText" lastClr="000000"/>
      </a:dk1>
      <a:lt1>
        <a:sysClr val="window" lastClr="FFFFFF"/>
      </a:lt1>
      <a:dk2>
        <a:srgbClr val="575F6D"/>
      </a:dk2>
      <a:lt2>
        <a:srgbClr val="E3E4E6"/>
      </a:lt2>
      <a:accent1>
        <a:srgbClr val="FE8637"/>
      </a:accent1>
      <a:accent2>
        <a:srgbClr val="B32C16"/>
      </a:accent2>
      <a:accent3>
        <a:srgbClr val="FFCC00"/>
      </a:accent3>
      <a:accent4>
        <a:srgbClr val="B96400"/>
      </a:accent4>
      <a:accent5>
        <a:srgbClr val="777C84"/>
      </a:accent5>
      <a:accent6>
        <a:srgbClr val="5B9BD5"/>
      </a:accent6>
      <a:hlink>
        <a:srgbClr val="7598D9"/>
      </a:hlink>
      <a:folHlink>
        <a:srgbClr val="3B435B"/>
      </a:folHlink>
    </a:clrScheme>
    <a:fontScheme name="PingAn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spcAft>
            <a:spcPts val="1000"/>
          </a:spcAft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PingAN Black Template_.pptx" id="{A05741A1-C570-43A8-A153-FCBAFA536E27}" vid="{CE1025C0-03B3-45E2-82BB-E7C0C733B072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049</TotalTime>
  <Words>2341</Words>
  <Application>Microsoft Office PowerPoint</Application>
  <PresentationFormat>宽屏</PresentationFormat>
  <Paragraphs>346</Paragraphs>
  <Slides>10</Slides>
  <Notes>5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5" baseType="lpstr">
      <vt:lpstr>OPPOSans L</vt:lpstr>
      <vt:lpstr>阿里巴巴普惠体 Heavy</vt:lpstr>
      <vt:lpstr>等线</vt:lpstr>
      <vt:lpstr>华文行楷</vt:lpstr>
      <vt:lpstr>华文楷体</vt:lpstr>
      <vt:lpstr>楷体</vt:lpstr>
      <vt:lpstr>宋体</vt:lpstr>
      <vt:lpstr>微软雅黑</vt:lpstr>
      <vt:lpstr>Arial</vt:lpstr>
      <vt:lpstr>Calibri</vt:lpstr>
      <vt:lpstr>Times New Roman</vt:lpstr>
      <vt:lpstr>Trebuchet MS</vt:lpstr>
      <vt:lpstr>Wingdings</vt:lpstr>
      <vt:lpstr>PingAn 16:9</vt:lpstr>
      <vt:lpstr>think-cell 幻灯片</vt:lpstr>
      <vt:lpstr>PowerPoint 演示文稿</vt:lpstr>
      <vt:lpstr>平安金服RPA：从尝试到拓展，开拓创新，与时偕行</vt:lpstr>
      <vt:lpstr>平安金服RPA全景：家族式规模，415项作业覆盖</vt:lpstr>
      <vt:lpstr>中心资金交易时效性要求高，人力耗时多</vt:lpstr>
      <vt:lpstr>方案介绍</vt:lpstr>
      <vt:lpstr>RPA架构部署方案</vt:lpstr>
      <vt:lpstr>方案介绍——流程亮点</vt:lpstr>
      <vt:lpstr>网银卡自动盘点</vt:lpstr>
      <vt:lpstr>PowerPoint 演示文稿</vt:lpstr>
      <vt:lpstr>PowerPoint 演示文稿</vt:lpstr>
    </vt:vector>
  </TitlesOfParts>
  <Company>中国平安保险(集团)股份有限公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Slides</dc:title>
  <dc:creator>高了(Liao Gao)</dc:creator>
  <cp:lastModifiedBy>俞佳(金服财服)</cp:lastModifiedBy>
  <cp:revision>425</cp:revision>
  <dcterms:created xsi:type="dcterms:W3CDTF">2018-12-19T10:19:32Z</dcterms:created>
  <dcterms:modified xsi:type="dcterms:W3CDTF">2023-06-16T06:21:44Z</dcterms:modified>
</cp:coreProperties>
</file>